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7027" r:id="rId1"/>
  </p:sldMasterIdLst>
  <p:notesMasterIdLst>
    <p:notesMasterId r:id="rId62"/>
  </p:notesMasterIdLst>
  <p:handoutMasterIdLst>
    <p:handoutMasterId r:id="rId63"/>
  </p:handoutMasterIdLst>
  <p:sldIdLst>
    <p:sldId id="348" r:id="rId2"/>
    <p:sldId id="386" r:id="rId3"/>
    <p:sldId id="415" r:id="rId4"/>
    <p:sldId id="452" r:id="rId5"/>
    <p:sldId id="454" r:id="rId6"/>
    <p:sldId id="453" r:id="rId7"/>
    <p:sldId id="416" r:id="rId8"/>
    <p:sldId id="418" r:id="rId9"/>
    <p:sldId id="475" r:id="rId10"/>
    <p:sldId id="468" r:id="rId11"/>
    <p:sldId id="467" r:id="rId12"/>
    <p:sldId id="419" r:id="rId13"/>
    <p:sldId id="420" r:id="rId14"/>
    <p:sldId id="471" r:id="rId15"/>
    <p:sldId id="421" r:id="rId16"/>
    <p:sldId id="422" r:id="rId17"/>
    <p:sldId id="423" r:id="rId18"/>
    <p:sldId id="424" r:id="rId19"/>
    <p:sldId id="476" r:id="rId20"/>
    <p:sldId id="455" r:id="rId21"/>
    <p:sldId id="469" r:id="rId22"/>
    <p:sldId id="477" r:id="rId23"/>
    <p:sldId id="456" r:id="rId24"/>
    <p:sldId id="472" r:id="rId25"/>
    <p:sldId id="464" r:id="rId26"/>
    <p:sldId id="431" r:id="rId27"/>
    <p:sldId id="478" r:id="rId28"/>
    <p:sldId id="426" r:id="rId29"/>
    <p:sldId id="427" r:id="rId30"/>
    <p:sldId id="457" r:id="rId31"/>
    <p:sldId id="458" r:id="rId32"/>
    <p:sldId id="428" r:id="rId33"/>
    <p:sldId id="466" r:id="rId34"/>
    <p:sldId id="429" r:id="rId35"/>
    <p:sldId id="430" r:id="rId36"/>
    <p:sldId id="432" r:id="rId37"/>
    <p:sldId id="473" r:id="rId38"/>
    <p:sldId id="433" r:id="rId39"/>
    <p:sldId id="459" r:id="rId40"/>
    <p:sldId id="434" r:id="rId41"/>
    <p:sldId id="435" r:id="rId42"/>
    <p:sldId id="436" r:id="rId43"/>
    <p:sldId id="437" r:id="rId44"/>
    <p:sldId id="438" r:id="rId45"/>
    <p:sldId id="474" r:id="rId46"/>
    <p:sldId id="460" r:id="rId47"/>
    <p:sldId id="439" r:id="rId48"/>
    <p:sldId id="440" r:id="rId49"/>
    <p:sldId id="441" r:id="rId50"/>
    <p:sldId id="442" r:id="rId51"/>
    <p:sldId id="443" r:id="rId52"/>
    <p:sldId id="444" r:id="rId53"/>
    <p:sldId id="445" r:id="rId54"/>
    <p:sldId id="446" r:id="rId55"/>
    <p:sldId id="447" r:id="rId56"/>
    <p:sldId id="448" r:id="rId57"/>
    <p:sldId id="463" r:id="rId58"/>
    <p:sldId id="449" r:id="rId59"/>
    <p:sldId id="470" r:id="rId60"/>
    <p:sldId id="451" r:id="rId61"/>
  </p:sldIdLst>
  <p:sldSz cx="9906000" cy="6858000" type="A4"/>
  <p:notesSz cx="7104063" cy="10234613"/>
  <p:custDataLst>
    <p:tags r:id="rId64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023">
          <p15:clr>
            <a:srgbClr val="A4A3A4"/>
          </p15:clr>
        </p15:guide>
        <p15:guide id="3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18" userDrawn="1">
          <p15:clr>
            <a:srgbClr val="A4A3A4"/>
          </p15:clr>
        </p15:guide>
        <p15:guide id="3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MPAGNE Aurelie" initials="CA" lastIdx="1" clrIdx="0"/>
  <p:cmAuthor id="1" name="BERNARDIE Francoise" initials="BF" lastIdx="2" clrIdx="1">
    <p:extLst>
      <p:ext uri="{19B8F6BF-5375-455C-9EA6-DF929625EA0E}">
        <p15:presenceInfo xmlns:p15="http://schemas.microsoft.com/office/powerpoint/2012/main" userId="S-1-5-21-2043104406-512064258-1538882281-744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1F3B73"/>
    <a:srgbClr val="004272"/>
    <a:srgbClr val="FFCCFF"/>
    <a:srgbClr val="FF9933"/>
    <a:srgbClr val="00355C"/>
    <a:srgbClr val="FF3399"/>
    <a:srgbClr val="FF9999"/>
    <a:srgbClr val="FDE9D9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82" autoAdjust="0"/>
    <p:restoredTop sz="96305" autoAdjust="0"/>
  </p:normalViewPr>
  <p:slideViewPr>
    <p:cSldViewPr snapToObjects="1">
      <p:cViewPr varScale="1">
        <p:scale>
          <a:sx n="130" d="100"/>
          <a:sy n="130" d="100"/>
        </p:scale>
        <p:origin x="912" y="126"/>
      </p:cViewPr>
      <p:guideLst>
        <p:guide orient="horz" pos="4319"/>
        <p:guide pos="6023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5" d="100"/>
          <a:sy n="75" d="100"/>
        </p:scale>
        <p:origin x="2184" y="-878"/>
      </p:cViewPr>
      <p:guideLst>
        <p:guide orient="horz" pos="3224"/>
        <p:guide pos="2218"/>
        <p:guide pos="223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handoutMaster" Target="handoutMasters/handoutMaster1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203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203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4AF47274-7A00-43C0-91BC-2BDD3E62FE6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8958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203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768350"/>
            <a:ext cx="55419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1735" y="4862018"/>
            <a:ext cx="5680597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203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BDCDCA82-32D8-4C6E-A565-DC3A434618E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7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595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88135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2012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1396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4004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19646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80904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4136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60550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1319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3331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48984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22094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5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41549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5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92811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5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4496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9871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9607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64948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4095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3389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02182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1481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0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2.xml"/><Relationship Id="rId7" Type="http://schemas.openxmlformats.org/officeDocument/2006/relationships/oleObject" Target="../embeddings/oleObject21.bin"/><Relationship Id="rId12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6.xml"/><Relationship Id="rId7" Type="http://schemas.openxmlformats.org/officeDocument/2006/relationships/oleObject" Target="../embeddings/oleObject25.bin"/><Relationship Id="rId12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8.xml"/><Relationship Id="rId7" Type="http://schemas.openxmlformats.org/officeDocument/2006/relationships/oleObject" Target="../embeddings/oleObject27.bin"/><Relationship Id="rId12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0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2.xml"/><Relationship Id="rId7" Type="http://schemas.openxmlformats.org/officeDocument/2006/relationships/oleObject" Target="../embeddings/oleObject31.bin"/><Relationship Id="rId12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4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11.jpeg"/><Relationship Id="rId3" Type="http://schemas.openxmlformats.org/officeDocument/2006/relationships/tags" Target="../tags/tag36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8.xml"/><Relationship Id="rId7" Type="http://schemas.openxmlformats.org/officeDocument/2006/relationships/oleObject" Target="../embeddings/oleObject37.bin"/><Relationship Id="rId12" Type="http://schemas.openxmlformats.org/officeDocument/2006/relationships/image" Target="../media/image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0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2.xml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4.xml"/><Relationship Id="rId7" Type="http://schemas.openxmlformats.org/officeDocument/2006/relationships/oleObject" Target="../embeddings/oleObject43.bin"/><Relationship Id="rId12" Type="http://schemas.openxmlformats.org/officeDocument/2006/relationships/image" Target="../media/image7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6.xml"/><Relationship Id="rId7" Type="http://schemas.openxmlformats.org/officeDocument/2006/relationships/oleObject" Target="../embeddings/oleObject45.bin"/><Relationship Id="rId12" Type="http://schemas.openxmlformats.org/officeDocument/2006/relationships/image" Target="../media/image7.png"/><Relationship Id="rId2" Type="http://schemas.openxmlformats.org/officeDocument/2006/relationships/tags" Target="../tags/tag45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4.bin"/><Relationship Id="rId15" Type="http://schemas.openxmlformats.org/officeDocument/2006/relationships/image" Target="../media/image12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slide" Target="../slides/slide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8.xml"/><Relationship Id="rId7" Type="http://schemas.openxmlformats.org/officeDocument/2006/relationships/oleObject" Target="../embeddings/oleObject47.bin"/><Relationship Id="rId12" Type="http://schemas.openxmlformats.org/officeDocument/2006/relationships/image" Target="../media/image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6.bin"/><Relationship Id="rId15" Type="http://schemas.openxmlformats.org/officeDocument/2006/relationships/image" Target="../media/image14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0.xml"/><Relationship Id="rId7" Type="http://schemas.openxmlformats.org/officeDocument/2006/relationships/oleObject" Target="../embeddings/oleObject49.bin"/><Relationship Id="rId12" Type="http://schemas.openxmlformats.org/officeDocument/2006/relationships/image" Target="../media/image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2.xml"/><Relationship Id="rId7" Type="http://schemas.openxmlformats.org/officeDocument/2006/relationships/oleObject" Target="../embeddings/oleObject51.bin"/><Relationship Id="rId12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0.bin"/><Relationship Id="rId15" Type="http://schemas.openxmlformats.org/officeDocument/2006/relationships/image" Target="../media/image14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4.xml"/><Relationship Id="rId7" Type="http://schemas.openxmlformats.org/officeDocument/2006/relationships/oleObject" Target="../embeddings/oleObject53.bin"/><Relationship Id="rId12" Type="http://schemas.openxmlformats.org/officeDocument/2006/relationships/image" Target="../media/image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6.xml"/><Relationship Id="rId7" Type="http://schemas.openxmlformats.org/officeDocument/2006/relationships/oleObject" Target="../embeddings/oleObject55.bin"/><Relationship Id="rId12" Type="http://schemas.openxmlformats.org/officeDocument/2006/relationships/image" Target="../media/image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8.xml"/><Relationship Id="rId7" Type="http://schemas.openxmlformats.org/officeDocument/2006/relationships/oleObject" Target="../embeddings/oleObject57.bin"/><Relationship Id="rId12" Type="http://schemas.openxmlformats.org/officeDocument/2006/relationships/image" Target="../media/image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slide" Target="../slides/slide53.xml"/><Relationship Id="rId18" Type="http://schemas.openxmlformats.org/officeDocument/2006/relationships/slide" Target="../slides/slide48.xml"/><Relationship Id="rId26" Type="http://schemas.openxmlformats.org/officeDocument/2006/relationships/slide" Target="../slides/slide31.xml"/><Relationship Id="rId3" Type="http://schemas.openxmlformats.org/officeDocument/2006/relationships/slide" Target="../slides/slide13.xml"/><Relationship Id="rId21" Type="http://schemas.openxmlformats.org/officeDocument/2006/relationships/slide" Target="../slides/slide34.xml"/><Relationship Id="rId34" Type="http://schemas.openxmlformats.org/officeDocument/2006/relationships/slide" Target="../slides/slide49.xml"/><Relationship Id="rId7" Type="http://schemas.openxmlformats.org/officeDocument/2006/relationships/slide" Target="../slides/slide56.xml"/><Relationship Id="rId12" Type="http://schemas.openxmlformats.org/officeDocument/2006/relationships/slide" Target="../slides/slide28.xml"/><Relationship Id="rId17" Type="http://schemas.openxmlformats.org/officeDocument/2006/relationships/slide" Target="../slides/slide17.xml"/><Relationship Id="rId25" Type="http://schemas.openxmlformats.org/officeDocument/2006/relationships/slide" Target="../slides/slide42.xml"/><Relationship Id="rId33" Type="http://schemas.openxmlformats.org/officeDocument/2006/relationships/slide" Target="../slides/slide8.xml"/><Relationship Id="rId2" Type="http://schemas.openxmlformats.org/officeDocument/2006/relationships/slide" Target="../slides/slide35.xml"/><Relationship Id="rId16" Type="http://schemas.openxmlformats.org/officeDocument/2006/relationships/slide" Target="../slides/slide18.xml"/><Relationship Id="rId20" Type="http://schemas.openxmlformats.org/officeDocument/2006/relationships/slide" Target="../slides/slide50.xml"/><Relationship Id="rId29" Type="http://schemas.openxmlformats.org/officeDocument/2006/relationships/slide" Target="../slides/slide25.xml"/><Relationship Id="rId1" Type="http://schemas.openxmlformats.org/officeDocument/2006/relationships/slideMaster" Target="../slideMasters/slideMaster1.xml"/><Relationship Id="rId6" Type="http://schemas.openxmlformats.org/officeDocument/2006/relationships/slide" Target="../slides/slide44.xml"/><Relationship Id="rId11" Type="http://schemas.openxmlformats.org/officeDocument/2006/relationships/slide" Target="../slides/slide38.xml"/><Relationship Id="rId24" Type="http://schemas.openxmlformats.org/officeDocument/2006/relationships/slide" Target="../slides/slide11.xml"/><Relationship Id="rId32" Type="http://schemas.openxmlformats.org/officeDocument/2006/relationships/slide" Target="../slides/slide10.xml"/><Relationship Id="rId5" Type="http://schemas.openxmlformats.org/officeDocument/2006/relationships/slide" Target="../slides/slide15.xml"/><Relationship Id="rId15" Type="http://schemas.openxmlformats.org/officeDocument/2006/relationships/slide" Target="../slides/slide12.xml"/><Relationship Id="rId23" Type="http://schemas.openxmlformats.org/officeDocument/2006/relationships/slide" Target="../slides/slide55.xml"/><Relationship Id="rId28" Type="http://schemas.openxmlformats.org/officeDocument/2006/relationships/slide" Target="../slides/slide40.xml"/><Relationship Id="rId10" Type="http://schemas.openxmlformats.org/officeDocument/2006/relationships/slide" Target="../slides/slide2.xml"/><Relationship Id="rId19" Type="http://schemas.openxmlformats.org/officeDocument/2006/relationships/slide" Target="../slides/slide47.xml"/><Relationship Id="rId31" Type="http://schemas.openxmlformats.org/officeDocument/2006/relationships/slide" Target="../slides/slide32.xml"/><Relationship Id="rId4" Type="http://schemas.openxmlformats.org/officeDocument/2006/relationships/slide" Target="../slides/slide26.xml"/><Relationship Id="rId9" Type="http://schemas.openxmlformats.org/officeDocument/2006/relationships/slide" Target="../slides/slide36.xml"/><Relationship Id="rId14" Type="http://schemas.openxmlformats.org/officeDocument/2006/relationships/slide" Target="../slides/slide54.xml"/><Relationship Id="rId22" Type="http://schemas.openxmlformats.org/officeDocument/2006/relationships/slide" Target="../slides/slide52.xml"/><Relationship Id="rId27" Type="http://schemas.openxmlformats.org/officeDocument/2006/relationships/slide" Target="../slides/slide30.xml"/><Relationship Id="rId30" Type="http://schemas.openxmlformats.org/officeDocument/2006/relationships/slide" Target="../slides/slide29.xml"/><Relationship Id="rId35" Type="http://schemas.openxmlformats.org/officeDocument/2006/relationships/slide" Target="../slides/slide43.xml"/><Relationship Id="rId8" Type="http://schemas.openxmlformats.org/officeDocument/2006/relationships/slide" Target="../slides/slide59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0.xml"/><Relationship Id="rId7" Type="http://schemas.openxmlformats.org/officeDocument/2006/relationships/oleObject" Target="../embeddings/oleObject59.bin"/><Relationship Id="rId12" Type="http://schemas.openxmlformats.org/officeDocument/2006/relationships/image" Target="../media/image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2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7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0.bin"/><Relationship Id="rId15" Type="http://schemas.openxmlformats.org/officeDocument/2006/relationships/image" Target="../media/image16.jpe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5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4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7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6.xml"/><Relationship Id="rId7" Type="http://schemas.openxmlformats.org/officeDocument/2006/relationships/oleObject" Target="../embeddings/oleObject65.bin"/><Relationship Id="rId12" Type="http://schemas.openxmlformats.org/officeDocument/2006/relationships/image" Target="../media/image7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image" Target="../media/image5.jpeg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8.xml"/><Relationship Id="rId7" Type="http://schemas.openxmlformats.org/officeDocument/2006/relationships/oleObject" Target="../embeddings/oleObject67.bin"/><Relationship Id="rId12" Type="http://schemas.openxmlformats.org/officeDocument/2006/relationships/image" Target="../media/image7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0.xml"/><Relationship Id="rId7" Type="http://schemas.openxmlformats.org/officeDocument/2006/relationships/oleObject" Target="../embeddings/oleObject69.bin"/><Relationship Id="rId12" Type="http://schemas.openxmlformats.org/officeDocument/2006/relationships/image" Target="../media/image9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7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2.xml"/><Relationship Id="rId7" Type="http://schemas.openxmlformats.org/officeDocument/2006/relationships/oleObject" Target="../embeddings/oleObject71.bin"/><Relationship Id="rId12" Type="http://schemas.openxmlformats.org/officeDocument/2006/relationships/image" Target="../media/image9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4.xml"/><Relationship Id="rId7" Type="http://schemas.openxmlformats.org/officeDocument/2006/relationships/oleObject" Target="../embeddings/oleObject73.bin"/><Relationship Id="rId12" Type="http://schemas.openxmlformats.org/officeDocument/2006/relationships/image" Target="../media/image9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6.xml"/><Relationship Id="rId7" Type="http://schemas.openxmlformats.org/officeDocument/2006/relationships/oleObject" Target="../embeddings/oleObject75.bin"/><Relationship Id="rId12" Type="http://schemas.openxmlformats.org/officeDocument/2006/relationships/image" Target="../media/image9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8.xml"/><Relationship Id="rId7" Type="http://schemas.openxmlformats.org/officeDocument/2006/relationships/oleObject" Target="../embeddings/oleObject77.bin"/><Relationship Id="rId12" Type="http://schemas.openxmlformats.org/officeDocument/2006/relationships/image" Target="../media/image9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0.xml"/><Relationship Id="rId7" Type="http://schemas.openxmlformats.org/officeDocument/2006/relationships/oleObject" Target="../embeddings/oleObject79.bin"/><Relationship Id="rId12" Type="http://schemas.openxmlformats.org/officeDocument/2006/relationships/image" Target="../media/image9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2.xml"/><Relationship Id="rId7" Type="http://schemas.openxmlformats.org/officeDocument/2006/relationships/oleObject" Target="../embeddings/oleObject81.bin"/><Relationship Id="rId12" Type="http://schemas.openxmlformats.org/officeDocument/2006/relationships/image" Target="../media/image9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4.xml"/><Relationship Id="rId7" Type="http://schemas.openxmlformats.org/officeDocument/2006/relationships/oleObject" Target="../embeddings/oleObject83.bin"/><Relationship Id="rId12" Type="http://schemas.openxmlformats.org/officeDocument/2006/relationships/image" Target="../media/image9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6.xml"/><Relationship Id="rId7" Type="http://schemas.openxmlformats.org/officeDocument/2006/relationships/oleObject" Target="../embeddings/oleObject85.bin"/><Relationship Id="rId12" Type="http://schemas.openxmlformats.org/officeDocument/2006/relationships/image" Target="../media/image9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8.xml"/><Relationship Id="rId7" Type="http://schemas.openxmlformats.org/officeDocument/2006/relationships/oleObject" Target="../embeddings/oleObject87.bin"/><Relationship Id="rId12" Type="http://schemas.openxmlformats.org/officeDocument/2006/relationships/image" Target="../media/image9.jpeg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0.xml"/><Relationship Id="rId7" Type="http://schemas.openxmlformats.org/officeDocument/2006/relationships/oleObject" Target="../embeddings/oleObject89.bin"/><Relationship Id="rId12" Type="http://schemas.openxmlformats.org/officeDocument/2006/relationships/image" Target="../media/image9.jpeg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2.xml"/><Relationship Id="rId7" Type="http://schemas.openxmlformats.org/officeDocument/2006/relationships/oleObject" Target="../embeddings/oleObject91.bin"/><Relationship Id="rId12" Type="http://schemas.openxmlformats.org/officeDocument/2006/relationships/image" Target="../media/image9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4.xml"/><Relationship Id="rId7" Type="http://schemas.openxmlformats.org/officeDocument/2006/relationships/oleObject" Target="../embeddings/oleObject93.bin"/><Relationship Id="rId12" Type="http://schemas.openxmlformats.org/officeDocument/2006/relationships/image" Target="../media/image9.jpeg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6.xml"/><Relationship Id="rId7" Type="http://schemas.openxmlformats.org/officeDocument/2006/relationships/oleObject" Target="../embeddings/oleObject95.bin"/><Relationship Id="rId12" Type="http://schemas.openxmlformats.org/officeDocument/2006/relationships/image" Target="../media/image9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8.xml"/><Relationship Id="rId7" Type="http://schemas.openxmlformats.org/officeDocument/2006/relationships/oleObject" Target="../embeddings/oleObject97.bin"/><Relationship Id="rId12" Type="http://schemas.openxmlformats.org/officeDocument/2006/relationships/image" Target="../media/image9.jpeg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0.xml"/><Relationship Id="rId7" Type="http://schemas.openxmlformats.org/officeDocument/2006/relationships/oleObject" Target="../embeddings/oleObject99.bin"/><Relationship Id="rId12" Type="http://schemas.openxmlformats.org/officeDocument/2006/relationships/image" Target="../media/image9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2.xml"/><Relationship Id="rId7" Type="http://schemas.openxmlformats.org/officeDocument/2006/relationships/oleObject" Target="../embeddings/oleObject101.bin"/><Relationship Id="rId12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00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4.xml"/><Relationship Id="rId7" Type="http://schemas.openxmlformats.org/officeDocument/2006/relationships/oleObject" Target="../embeddings/oleObject103.bin"/><Relationship Id="rId12" Type="http://schemas.openxmlformats.org/officeDocument/2006/relationships/image" Target="../media/image7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0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6.xml"/><Relationship Id="rId7" Type="http://schemas.openxmlformats.org/officeDocument/2006/relationships/oleObject" Target="../embeddings/oleObject105.bin"/><Relationship Id="rId12" Type="http://schemas.openxmlformats.org/officeDocument/2006/relationships/image" Target="../media/image9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8.xml"/><Relationship Id="rId7" Type="http://schemas.openxmlformats.org/officeDocument/2006/relationships/oleObject" Target="../embeddings/oleObject107.bin"/><Relationship Id="rId12" Type="http://schemas.openxmlformats.org/officeDocument/2006/relationships/image" Target="../media/image9.jpeg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10.xml"/><Relationship Id="rId7" Type="http://schemas.openxmlformats.org/officeDocument/2006/relationships/oleObject" Target="../embeddings/oleObject109.bin"/><Relationship Id="rId12" Type="http://schemas.openxmlformats.org/officeDocument/2006/relationships/image" Target="../media/image9.jpeg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8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80467" y="2852738"/>
            <a:ext cx="3972933" cy="1656382"/>
          </a:xfrm>
        </p:spPr>
        <p:txBody>
          <a:bodyPr anchor="ctr"/>
          <a:lstStyle>
            <a:lvl1pPr marL="0" indent="0" algn="r" fontAlgn="auto"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Parcours de l’agent fonctionnaire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ersion 21.10.00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01/03/2022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0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3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6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dirty="0"/>
              <a:t>C</a:t>
            </a:r>
            <a:r>
              <a:rPr lang="fr-FR" sz="1600" b="0" i="0" dirty="0"/>
              <a:t>entre</a:t>
            </a:r>
            <a:r>
              <a:rPr lang="fr-FR" sz="1600" b="1" i="0" dirty="0"/>
              <a:t> I</a:t>
            </a:r>
            <a:r>
              <a:rPr lang="fr-FR" sz="1600" b="0" i="0" dirty="0"/>
              <a:t>nterministériel de </a:t>
            </a:r>
            <a:r>
              <a:rPr lang="fr-FR" sz="1600" b="1" i="0" dirty="0"/>
              <a:t>S</a:t>
            </a:r>
            <a:r>
              <a:rPr lang="fr-FR" sz="1600" b="0" i="0" dirty="0"/>
              <a:t>ervices </a:t>
            </a:r>
            <a:r>
              <a:rPr lang="fr-FR" sz="1600" b="1" i="0" dirty="0"/>
              <a:t>I</a:t>
            </a:r>
            <a:r>
              <a:rPr lang="fr-FR" sz="1600" b="0" i="0" dirty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baseline="0" dirty="0"/>
              <a:t>r</a:t>
            </a:r>
            <a:r>
              <a:rPr lang="fr-FR" sz="1600" b="0" i="0" baseline="0" dirty="0"/>
              <a:t>elatifs aux </a:t>
            </a:r>
            <a:r>
              <a:rPr lang="fr-FR" sz="1600" b="1" i="0" baseline="0" dirty="0"/>
              <a:t>R</a:t>
            </a:r>
            <a:r>
              <a:rPr lang="fr-FR" sz="1600" b="0" i="0" baseline="0" dirty="0"/>
              <a:t>essources </a:t>
            </a:r>
            <a:r>
              <a:rPr lang="fr-FR" sz="1600" b="1" i="0" baseline="0" dirty="0"/>
              <a:t>H</a:t>
            </a:r>
            <a:r>
              <a:rPr lang="fr-FR" sz="1600" b="0" i="0" baseline="0" dirty="0"/>
              <a:t>umaines</a:t>
            </a:r>
            <a:endParaRPr lang="fr-FR" sz="1600" b="0" i="0" dirty="0"/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221718" y="294141"/>
            <a:ext cx="3032787" cy="2924149"/>
            <a:chOff x="5259053" y="2639558"/>
            <a:chExt cx="1709797" cy="1648549"/>
          </a:xfrm>
        </p:grpSpPr>
        <p:sp>
          <p:nvSpPr>
            <p:cNvPr id="37" name="Hexagone 36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8" name="Hexagone 37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9" name="Hexagone 3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0" name="Hexagone 3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1" name="Hexagone 4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2" name="Hexagone 4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3" name="Hexagone 42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72" name="Picture 4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3" name="Hexagone 72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avct échelon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4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0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83" name="Title 2"/>
          <p:cNvSpPr txBox="1">
            <a:spLocks/>
          </p:cNvSpPr>
          <p:nvPr userDrawn="1"/>
        </p:nvSpPr>
        <p:spPr bwMode="gray">
          <a:xfrm>
            <a:off x="425480" y="260648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e chevron et de la bonification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59703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447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263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8722874" y="1628848"/>
            <a:ext cx="793957" cy="198017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7419074" y="1628801"/>
            <a:ext cx="793957" cy="346758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2" name="Straight Connector 66"/>
          <p:cNvCxnSpPr/>
          <p:nvPr userDrawn="1"/>
        </p:nvCxnSpPr>
        <p:spPr bwMode="auto">
          <a:xfrm>
            <a:off x="7192410" y="1629204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68"/>
          <p:cNvCxnSpPr/>
          <p:nvPr userDrawn="1"/>
        </p:nvCxnSpPr>
        <p:spPr bwMode="auto">
          <a:xfrm>
            <a:off x="8448404" y="1623397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ectangle 62"/>
          <p:cNvSpPr/>
          <p:nvPr userDrawn="1"/>
        </p:nvSpPr>
        <p:spPr bwMode="auto">
          <a:xfrm>
            <a:off x="992560" y="2276936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chevron</a:t>
            </a:r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3471226" y="2852936"/>
            <a:ext cx="239926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hevron dans un emploi fonctionnel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7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471226" y="1772880"/>
            <a:ext cx="239926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hevron dans un corp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6</a:t>
            </a:r>
          </a:p>
        </p:txBody>
      </p:sp>
      <p:cxnSp>
        <p:nvCxnSpPr>
          <p:cNvPr id="8" name="Connecteur droit 7"/>
          <p:cNvCxnSpPr>
            <a:stCxn id="63" idx="3"/>
            <a:endCxn id="69" idx="1"/>
          </p:cNvCxnSpPr>
          <p:nvPr userDrawn="1"/>
        </p:nvCxnSpPr>
        <p:spPr bwMode="auto">
          <a:xfrm flipV="1">
            <a:off x="2792760" y="2060880"/>
            <a:ext cx="678466" cy="50405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eur droit 11"/>
          <p:cNvCxnSpPr>
            <a:stCxn id="63" idx="3"/>
            <a:endCxn id="64" idx="1"/>
          </p:cNvCxnSpPr>
          <p:nvPr userDrawn="1"/>
        </p:nvCxnSpPr>
        <p:spPr bwMode="auto">
          <a:xfrm>
            <a:off x="2792760" y="2564936"/>
            <a:ext cx="678466" cy="57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6090923"/>
            <a:ext cx="362413" cy="362413"/>
          </a:xfrm>
          <a:prstGeom prst="rect">
            <a:avLst/>
          </a:prstGeom>
        </p:spPr>
      </p:pic>
      <p:sp>
        <p:nvSpPr>
          <p:cNvPr id="45" name="TextBox 58"/>
          <p:cNvSpPr txBox="1"/>
          <p:nvPr userDrawn="1"/>
        </p:nvSpPr>
        <p:spPr>
          <a:xfrm>
            <a:off x="6825208" y="6099103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6" name="Groupe 45"/>
          <p:cNvGrpSpPr/>
          <p:nvPr userDrawn="1"/>
        </p:nvGrpSpPr>
        <p:grpSpPr>
          <a:xfrm>
            <a:off x="6368169" y="6315126"/>
            <a:ext cx="2596066" cy="246222"/>
            <a:chOff x="5727309" y="6347218"/>
            <a:chExt cx="2596066" cy="309782"/>
          </a:xfrm>
        </p:grpSpPr>
        <p:sp>
          <p:nvSpPr>
            <p:cNvPr id="47" name="TextBox 54"/>
            <p:cNvSpPr txBox="1"/>
            <p:nvPr/>
          </p:nvSpPr>
          <p:spPr>
            <a:xfrm>
              <a:off x="5727309" y="6374210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184348" y="6347218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49" name="Groupe 48"/>
          <p:cNvGrpSpPr/>
          <p:nvPr userDrawn="1"/>
        </p:nvGrpSpPr>
        <p:grpSpPr>
          <a:xfrm>
            <a:off x="6482648" y="6532801"/>
            <a:ext cx="2385107" cy="205373"/>
            <a:chOff x="6108241" y="6482036"/>
            <a:chExt cx="2481586" cy="316030"/>
          </a:xfrm>
        </p:grpSpPr>
        <p:pic>
          <p:nvPicPr>
            <p:cNvPr id="5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TextBox 60"/>
            <p:cNvSpPr txBox="1"/>
            <p:nvPr/>
          </p:nvSpPr>
          <p:spPr>
            <a:xfrm>
              <a:off x="6450800" y="64820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2" name="Rectangle 51"/>
          <p:cNvSpPr/>
          <p:nvPr userDrawn="1"/>
        </p:nvSpPr>
        <p:spPr bwMode="auto">
          <a:xfrm>
            <a:off x="6274206" y="5582236"/>
            <a:ext cx="2854029" cy="1220189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48414" y="590971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 userDrawn="1"/>
        </p:nvSpPr>
        <p:spPr bwMode="auto">
          <a:xfrm rot="16200000">
            <a:off x="-1423923" y="3187121"/>
            <a:ext cx="39402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985389" y="4185084"/>
            <a:ext cx="1800200" cy="6368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ttribu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bonification avantage spécifique d’ancienneté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3442368" y="4185084"/>
            <a:ext cx="2399265" cy="6368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ttribution bonification avantage spécifique d’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IND0004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IND0005</a:t>
            </a:r>
          </a:p>
        </p:txBody>
      </p:sp>
      <p:cxnSp>
        <p:nvCxnSpPr>
          <p:cNvPr id="71" name="Connecteur droit 70"/>
          <p:cNvCxnSpPr>
            <a:stCxn id="58" idx="3"/>
            <a:endCxn id="59" idx="1"/>
          </p:cNvCxnSpPr>
          <p:nvPr userDrawn="1"/>
        </p:nvCxnSpPr>
        <p:spPr bwMode="auto">
          <a:xfrm>
            <a:off x="2785589" y="4503515"/>
            <a:ext cx="65677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3" name="Image 72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6809952" y="5878312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ZoneTexte 61"/>
          <p:cNvSpPr txBox="1"/>
          <p:nvPr userDrawn="1"/>
        </p:nvSpPr>
        <p:spPr>
          <a:xfrm>
            <a:off x="6818548" y="5627549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53" name="TextBox 64"/>
          <p:cNvSpPr txBox="1"/>
          <p:nvPr userDrawn="1"/>
        </p:nvSpPr>
        <p:spPr>
          <a:xfrm>
            <a:off x="6141132" y="537321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5589240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215" y="4329100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4310528"/>
            <a:ext cx="318039" cy="336260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6" y="1868898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502" y="300397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792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avct gr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e grade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9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992560" y="311608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grade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2811495" y="20936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ar examen professionnel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2734565" y="416618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ancement de grade par concours professionnel</a:t>
            </a: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4772980" y="20936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050" i="1" kern="0" baseline="0" dirty="0" err="1">
                <a:solidFill>
                  <a:srgbClr val="004272"/>
                </a:solidFill>
                <a:latin typeface="+mn-lt"/>
                <a:cs typeface="ＭＳ Ｐゴシック"/>
              </a:rPr>
              <a:t>échelon_échel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05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9" name="Straight Connector 34"/>
          <p:cNvCxnSpPr>
            <a:stCxn id="40" idx="3"/>
            <a:endCxn id="65" idx="1"/>
          </p:cNvCxnSpPr>
          <p:nvPr userDrawn="1"/>
        </p:nvCxnSpPr>
        <p:spPr bwMode="auto">
          <a:xfrm flipV="1">
            <a:off x="2432560" y="2453653"/>
            <a:ext cx="378935" cy="102243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34"/>
          <p:cNvCxnSpPr>
            <a:stCxn id="40" idx="3"/>
            <a:endCxn id="66" idx="1"/>
          </p:cNvCxnSpPr>
          <p:nvPr userDrawn="1"/>
        </p:nvCxnSpPr>
        <p:spPr bwMode="auto">
          <a:xfrm>
            <a:off x="2432560" y="3476085"/>
            <a:ext cx="302005" cy="10501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34"/>
          <p:cNvCxnSpPr>
            <a:stCxn id="65" idx="3"/>
          </p:cNvCxnSpPr>
          <p:nvPr userDrawn="1"/>
        </p:nvCxnSpPr>
        <p:spPr bwMode="auto">
          <a:xfrm>
            <a:off x="4251495" y="2453653"/>
            <a:ext cx="479034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4817086" y="416618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anc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</a:t>
            </a:r>
            <a:r>
              <a:rPr lang="fr-FR" sz="1050" i="1" kern="0" baseline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échelon_échelon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6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66" idx="3"/>
            <a:endCxn id="74" idx="1"/>
          </p:cNvCxnSpPr>
          <p:nvPr userDrawn="1"/>
        </p:nvCxnSpPr>
        <p:spPr bwMode="auto">
          <a:xfrm>
            <a:off x="4174565" y="4526186"/>
            <a:ext cx="642521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Box 29"/>
          <p:cNvSpPr txBox="1"/>
          <p:nvPr userDrawn="1"/>
        </p:nvSpPr>
        <p:spPr>
          <a:xfrm>
            <a:off x="6033120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80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81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8699945" y="1466383"/>
            <a:ext cx="793957" cy="388838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7396145" y="1466336"/>
            <a:ext cx="793957" cy="389276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48" name="Straight Connector 66"/>
          <p:cNvCxnSpPr/>
          <p:nvPr userDrawn="1"/>
        </p:nvCxnSpPr>
        <p:spPr bwMode="auto">
          <a:xfrm>
            <a:off x="7169481" y="1466739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68"/>
          <p:cNvCxnSpPr/>
          <p:nvPr userDrawn="1"/>
        </p:nvCxnSpPr>
        <p:spPr bwMode="auto">
          <a:xfrm>
            <a:off x="8425475" y="1460932"/>
            <a:ext cx="60391" cy="39667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8" name="Groupe 57"/>
          <p:cNvGrpSpPr/>
          <p:nvPr userDrawn="1"/>
        </p:nvGrpSpPr>
        <p:grpSpPr>
          <a:xfrm>
            <a:off x="6544445" y="6293167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3" name="Rectangle 52"/>
          <p:cNvSpPr/>
          <p:nvPr userDrawn="1"/>
        </p:nvSpPr>
        <p:spPr bwMode="auto">
          <a:xfrm rot="16200000">
            <a:off x="-1409734" y="303513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90" name="Image 8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4" name="TextBox 58"/>
          <p:cNvSpPr txBox="1"/>
          <p:nvPr userDrawn="1"/>
        </p:nvSpPr>
        <p:spPr>
          <a:xfrm>
            <a:off x="7080713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510" y="6065484"/>
            <a:ext cx="362413" cy="362413"/>
          </a:xfrm>
          <a:prstGeom prst="rect">
            <a:avLst/>
          </a:prstGeom>
        </p:spPr>
      </p:pic>
      <p:sp>
        <p:nvSpPr>
          <p:cNvPr id="86" name="TextBox 58"/>
          <p:cNvSpPr txBox="1"/>
          <p:nvPr userDrawn="1"/>
        </p:nvSpPr>
        <p:spPr>
          <a:xfrm>
            <a:off x="7080713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7" name="Groupe 86"/>
          <p:cNvGrpSpPr/>
          <p:nvPr userDrawn="1"/>
        </p:nvGrpSpPr>
        <p:grpSpPr>
          <a:xfrm>
            <a:off x="6671236" y="6531151"/>
            <a:ext cx="2538714" cy="246221"/>
            <a:chOff x="6108241" y="6486136"/>
            <a:chExt cx="2538714" cy="316030"/>
          </a:xfrm>
        </p:grpSpPr>
        <p:pic>
          <p:nvPicPr>
            <p:cNvPr id="9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6" name="Rectangle 95"/>
          <p:cNvSpPr/>
          <p:nvPr userDrawn="1"/>
        </p:nvSpPr>
        <p:spPr bwMode="auto">
          <a:xfrm>
            <a:off x="6393160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7" name="TextBox 64"/>
          <p:cNvSpPr txBox="1"/>
          <p:nvPr userDrawn="1"/>
        </p:nvSpPr>
        <p:spPr>
          <a:xfrm>
            <a:off x="6321152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37002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" name="ZoneTexte 98"/>
          <p:cNvSpPr txBox="1"/>
          <p:nvPr userDrawn="1"/>
        </p:nvSpPr>
        <p:spPr>
          <a:xfrm>
            <a:off x="7052998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022" y="5526231"/>
            <a:ext cx="318039" cy="336260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809" y="2276229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0" y="4345335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502138" y="3101136"/>
            <a:ext cx="17468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et classeme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4 (individue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2 (collectif)</a:t>
            </a:r>
          </a:p>
        </p:txBody>
      </p:sp>
      <p:cxnSp>
        <p:nvCxnSpPr>
          <p:cNvPr id="45" name="Straight Connector 34"/>
          <p:cNvCxnSpPr>
            <a:endCxn id="44" idx="1"/>
          </p:cNvCxnSpPr>
          <p:nvPr userDrawn="1"/>
        </p:nvCxnSpPr>
        <p:spPr bwMode="auto">
          <a:xfrm flipV="1">
            <a:off x="2448708" y="3461136"/>
            <a:ext cx="2053430" cy="149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8" name="Image 4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0" y="3333711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80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promo cor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promotion de corp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9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1238978" y="350108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corps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3480439" y="4077152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orps par LA (liste d’aptitude) stagi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1</a:t>
            </a:r>
          </a:p>
        </p:txBody>
      </p:sp>
      <p:cxnSp>
        <p:nvCxnSpPr>
          <p:cNvPr id="69" name="Straight Connector 34"/>
          <p:cNvCxnSpPr>
            <a:stCxn id="40" idx="3"/>
            <a:endCxn id="65" idx="1"/>
          </p:cNvCxnSpPr>
          <p:nvPr userDrawn="1"/>
        </p:nvCxnSpPr>
        <p:spPr bwMode="auto">
          <a:xfrm>
            <a:off x="2678978" y="3861088"/>
            <a:ext cx="801461" cy="57606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Box 29"/>
          <p:cNvSpPr txBox="1"/>
          <p:nvPr userDrawn="1"/>
        </p:nvSpPr>
        <p:spPr>
          <a:xfrm>
            <a:off x="5947418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80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81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8699945" y="1466383"/>
            <a:ext cx="793957" cy="388838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7396145" y="1466336"/>
            <a:ext cx="793957" cy="38884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48" name="Straight Connector 66"/>
          <p:cNvCxnSpPr/>
          <p:nvPr userDrawn="1"/>
        </p:nvCxnSpPr>
        <p:spPr bwMode="auto">
          <a:xfrm>
            <a:off x="7169481" y="1466739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68"/>
          <p:cNvCxnSpPr/>
          <p:nvPr userDrawn="1"/>
        </p:nvCxnSpPr>
        <p:spPr bwMode="auto">
          <a:xfrm>
            <a:off x="8461403" y="1460932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35" name="Image 3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4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5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1" name="Rectangle 5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2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ZoneTexte 53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656" y="4257092"/>
            <a:ext cx="318039" cy="336260"/>
          </a:xfrm>
          <a:prstGeom prst="rect">
            <a:avLst/>
          </a:prstGeom>
        </p:spPr>
      </p:pic>
      <p:sp>
        <p:nvSpPr>
          <p:cNvPr id="41" name="Rectangle 40"/>
          <p:cNvSpPr/>
          <p:nvPr userDrawn="1"/>
        </p:nvSpPr>
        <p:spPr bwMode="auto">
          <a:xfrm>
            <a:off x="3476836" y="2961028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orps par LA (liste d’aptitude) titul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5</a:t>
            </a:r>
          </a:p>
        </p:txBody>
      </p:sp>
      <p:cxnSp>
        <p:nvCxnSpPr>
          <p:cNvPr id="55" name="Straight Connector 34"/>
          <p:cNvCxnSpPr>
            <a:stCxn id="40" idx="3"/>
            <a:endCxn id="41" idx="1"/>
          </p:cNvCxnSpPr>
          <p:nvPr userDrawn="1"/>
        </p:nvCxnSpPr>
        <p:spPr bwMode="auto">
          <a:xfrm flipV="1">
            <a:off x="2678978" y="3321028"/>
            <a:ext cx="797858" cy="5400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995" y="3092740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1238978" y="180007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Nomina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ans un c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orps</a:t>
            </a: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3476836" y="1808900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omination et classement titul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4 (individue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4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34"/>
          <p:cNvCxnSpPr>
            <a:endCxn id="59" idx="1"/>
          </p:cNvCxnSpPr>
          <p:nvPr userDrawn="1"/>
        </p:nvCxnSpPr>
        <p:spPr bwMode="auto">
          <a:xfrm>
            <a:off x="2682581" y="2168900"/>
            <a:ext cx="79425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326" y="201438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347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hgt affec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12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14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176978" y="35238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hangement d’affectation</a:t>
            </a:r>
          </a:p>
          <a:p>
            <a:pPr algn="ctr"/>
            <a:r>
              <a:rPr lang="fr-FR" sz="800" b="0" i="1" kern="0" dirty="0">
                <a:solidFill>
                  <a:srgbClr val="004272"/>
                </a:solidFill>
                <a:latin typeface="+mn-lt"/>
                <a:cs typeface="ＭＳ Ｐゴシック"/>
              </a:rPr>
              <a:t>(sans</a:t>
            </a:r>
            <a:r>
              <a:rPr lang="fr-FR" sz="800" b="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hangement de prise en charge financière)</a:t>
            </a:r>
            <a:endParaRPr lang="fr-FR" sz="800" b="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4632524" y="162931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ec changement de résidence (métropol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3</a:t>
            </a:r>
          </a:p>
        </p:txBody>
      </p:sp>
      <p:cxnSp>
        <p:nvCxnSpPr>
          <p:cNvPr id="117" name="Straight Connector 18"/>
          <p:cNvCxnSpPr>
            <a:stCxn id="125" idx="3"/>
            <a:endCxn id="116" idx="1"/>
          </p:cNvCxnSpPr>
          <p:nvPr userDrawn="1"/>
        </p:nvCxnSpPr>
        <p:spPr bwMode="auto">
          <a:xfrm flipV="1">
            <a:off x="4272524" y="1989319"/>
            <a:ext cx="360000" cy="86365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23"/>
          <p:cNvCxnSpPr>
            <a:stCxn id="125" idx="3"/>
            <a:endCxn id="120" idx="1"/>
          </p:cNvCxnSpPr>
          <p:nvPr userDrawn="1"/>
        </p:nvCxnSpPr>
        <p:spPr bwMode="auto">
          <a:xfrm>
            <a:off x="4272524" y="2852976"/>
            <a:ext cx="360000" cy="89962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0" name="Rectangle 119"/>
          <p:cNvSpPr/>
          <p:nvPr userDrawn="1"/>
        </p:nvSpPr>
        <p:spPr bwMode="auto">
          <a:xfrm>
            <a:off x="4632524" y="339260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changement de résiden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1</a:t>
            </a:r>
          </a:p>
        </p:txBody>
      </p:sp>
      <p:sp>
        <p:nvSpPr>
          <p:cNvPr id="121" name="Rectangle 120"/>
          <p:cNvSpPr/>
          <p:nvPr userDrawn="1"/>
        </p:nvSpPr>
        <p:spPr bwMode="auto">
          <a:xfrm>
            <a:off x="4632524" y="249296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ec changement de résidence (hors métropole)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2</a:t>
            </a:r>
          </a:p>
        </p:txBody>
      </p:sp>
      <p:cxnSp>
        <p:nvCxnSpPr>
          <p:cNvPr id="122" name="Straight Connector 40"/>
          <p:cNvCxnSpPr>
            <a:stCxn id="125" idx="3"/>
            <a:endCxn id="121" idx="1"/>
          </p:cNvCxnSpPr>
          <p:nvPr userDrawn="1"/>
        </p:nvCxnSpPr>
        <p:spPr bwMode="auto">
          <a:xfrm flipV="1">
            <a:off x="4272524" y="2852968"/>
            <a:ext cx="360000" cy="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3" name="Rectangle 122"/>
          <p:cNvSpPr/>
          <p:nvPr userDrawn="1"/>
        </p:nvSpPr>
        <p:spPr bwMode="auto">
          <a:xfrm>
            <a:off x="2832524" y="4554729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et affectation avec changement de l’autorité de gestion (exemple des attachés d’administration central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ORG0004</a:t>
            </a:r>
          </a:p>
        </p:txBody>
      </p:sp>
      <p:cxnSp>
        <p:nvCxnSpPr>
          <p:cNvPr id="124" name="Straight Connector 52"/>
          <p:cNvCxnSpPr>
            <a:stCxn id="115" idx="3"/>
            <a:endCxn id="123" idx="1"/>
          </p:cNvCxnSpPr>
          <p:nvPr userDrawn="1"/>
        </p:nvCxnSpPr>
        <p:spPr bwMode="auto">
          <a:xfrm>
            <a:off x="2616978" y="3883853"/>
            <a:ext cx="215546" cy="103087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ectangle 124"/>
          <p:cNvSpPr/>
          <p:nvPr userDrawn="1"/>
        </p:nvSpPr>
        <p:spPr bwMode="auto">
          <a:xfrm>
            <a:off x="2832524" y="249297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et affectation sans changement d’autorité de gestion</a:t>
            </a:r>
          </a:p>
        </p:txBody>
      </p:sp>
      <p:cxnSp>
        <p:nvCxnSpPr>
          <p:cNvPr id="126" name="Straight Connector 34"/>
          <p:cNvCxnSpPr>
            <a:stCxn id="115" idx="3"/>
            <a:endCxn id="125" idx="1"/>
          </p:cNvCxnSpPr>
          <p:nvPr userDrawn="1"/>
        </p:nvCxnSpPr>
        <p:spPr bwMode="auto">
          <a:xfrm flipV="1">
            <a:off x="2616978" y="2852976"/>
            <a:ext cx="215546" cy="103087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cxnSp>
        <p:nvCxnSpPr>
          <p:cNvPr id="128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0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8735949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7432149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4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  <a:t>Détail des événements </a:t>
            </a:r>
            <a:b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</a:b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  <a:t>Processus - Gestion des changements d’affectation / mutations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ffectations</a:t>
            </a:r>
          </a:p>
        </p:txBody>
      </p:sp>
      <p:pic>
        <p:nvPicPr>
          <p:cNvPr id="57" name="Image 56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8" name="Groupe 5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8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9" name="Groupe 68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2" name="Rectangle 71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ZoneTexte 7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706" y="3592902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4725144"/>
            <a:ext cx="318039" cy="336260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2672916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18088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589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temps partiel 1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EB265450-1E8F-49D0-B515-BC54CC1A08BA}"/>
              </a:ext>
            </a:extLst>
          </p:cNvPr>
          <p:cNvSpPr/>
          <p:nvPr userDrawn="1"/>
        </p:nvSpPr>
        <p:spPr bwMode="auto">
          <a:xfrm>
            <a:off x="6691329" y="2288855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9BACC4E-2034-4FA0-9168-B551BF91DD02}"/>
              </a:ext>
            </a:extLst>
          </p:cNvPr>
          <p:cNvSpPr/>
          <p:nvPr userDrawn="1"/>
        </p:nvSpPr>
        <p:spPr bwMode="auto">
          <a:xfrm>
            <a:off x="6700033" y="3715919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Straight Connector 66"/>
          <p:cNvCxnSpPr/>
          <p:nvPr userDrawn="1"/>
        </p:nvCxnSpPr>
        <p:spPr bwMode="auto">
          <a:xfrm flipH="1">
            <a:off x="7224522" y="1529706"/>
            <a:ext cx="22415" cy="3644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1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992560" y="2743280"/>
            <a:ext cx="1440000" cy="11178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799058" y="2276936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à maternité / paternité / adoption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2</a:t>
            </a:r>
          </a:p>
        </p:txBody>
      </p:sp>
      <p:cxnSp>
        <p:nvCxnSpPr>
          <p:cNvPr id="76" name="Straight Connector 40"/>
          <p:cNvCxnSpPr>
            <a:stCxn id="78" idx="3"/>
            <a:endCxn id="75" idx="1"/>
          </p:cNvCxnSpPr>
          <p:nvPr userDrawn="1"/>
        </p:nvCxnSpPr>
        <p:spPr bwMode="auto">
          <a:xfrm flipV="1">
            <a:off x="4268924" y="2564936"/>
            <a:ext cx="530134" cy="7372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828924" y="3014196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roit</a:t>
            </a:r>
          </a:p>
        </p:txBody>
      </p:sp>
      <p:cxnSp>
        <p:nvCxnSpPr>
          <p:cNvPr id="79" name="Straight Connector 34"/>
          <p:cNvCxnSpPr>
            <a:stCxn id="43" idx="3"/>
            <a:endCxn id="78" idx="1"/>
          </p:cNvCxnSpPr>
          <p:nvPr userDrawn="1"/>
        </p:nvCxnSpPr>
        <p:spPr bwMode="auto">
          <a:xfrm>
            <a:off x="2432560" y="3302196"/>
            <a:ext cx="396364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682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66536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4" name="Image 9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709" y="2406374"/>
            <a:ext cx="318039" cy="336260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 bwMode="auto">
          <a:xfrm>
            <a:off x="4770560" y="3717096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à maternité / paternité / adoption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9</a:t>
            </a:r>
          </a:p>
        </p:txBody>
      </p:sp>
      <p:cxnSp>
        <p:nvCxnSpPr>
          <p:cNvPr id="51" name="Straight Connector 40"/>
          <p:cNvCxnSpPr>
            <a:stCxn id="78" idx="3"/>
            <a:endCxn id="50" idx="1"/>
          </p:cNvCxnSpPr>
          <p:nvPr userDrawn="1"/>
        </p:nvCxnSpPr>
        <p:spPr bwMode="auto">
          <a:xfrm>
            <a:off x="4268924" y="3302196"/>
            <a:ext cx="501636" cy="7029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917" y="380536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00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temps partiel 2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A064B313-47E4-4F98-B0AF-397C9D538804}"/>
              </a:ext>
            </a:extLst>
          </p:cNvPr>
          <p:cNvSpPr/>
          <p:nvPr userDrawn="1"/>
        </p:nvSpPr>
        <p:spPr bwMode="auto">
          <a:xfrm>
            <a:off x="6500065" y="2665085"/>
            <a:ext cx="196362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C16703-3E27-4BB8-A288-446852A1275B}"/>
              </a:ext>
            </a:extLst>
          </p:cNvPr>
          <p:cNvSpPr/>
          <p:nvPr userDrawn="1"/>
        </p:nvSpPr>
        <p:spPr bwMode="auto">
          <a:xfrm>
            <a:off x="6498910" y="1753380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Straight Connector 66"/>
          <p:cNvCxnSpPr/>
          <p:nvPr userDrawn="1"/>
        </p:nvCxnSpPr>
        <p:spPr bwMode="auto">
          <a:xfrm flipH="1">
            <a:off x="7342853" y="1529706"/>
            <a:ext cx="22415" cy="3644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2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335502" y="2767546"/>
            <a:ext cx="1440000" cy="11178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 de droi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088904" y="1680761"/>
            <a:ext cx="2346249" cy="72123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donner des soins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64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65</a:t>
            </a:r>
          </a:p>
        </p:txBody>
      </p:sp>
      <p:cxnSp>
        <p:nvCxnSpPr>
          <p:cNvPr id="76" name="Straight Connector 40"/>
          <p:cNvCxnSpPr>
            <a:cxnSpLocks/>
            <a:stCxn id="43" idx="3"/>
            <a:endCxn id="75" idx="1"/>
          </p:cNvCxnSpPr>
          <p:nvPr userDrawn="1"/>
        </p:nvCxnSpPr>
        <p:spPr bwMode="auto">
          <a:xfrm flipV="1">
            <a:off x="2775502" y="2041380"/>
            <a:ext cx="1313402" cy="128508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682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66536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33" name="Rectangle 132"/>
          <p:cNvSpPr/>
          <p:nvPr userDrawn="1"/>
        </p:nvSpPr>
        <p:spPr bwMode="auto">
          <a:xfrm>
            <a:off x="4086295" y="4443040"/>
            <a:ext cx="2352132" cy="6525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icap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73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72</a:t>
            </a:r>
          </a:p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1" name="Connecteur droit 130"/>
          <p:cNvCxnSpPr>
            <a:cxnSpLocks/>
            <a:stCxn id="43" idx="3"/>
            <a:endCxn id="62" idx="1"/>
          </p:cNvCxnSpPr>
          <p:nvPr userDrawn="1"/>
        </p:nvCxnSpPr>
        <p:spPr bwMode="auto">
          <a:xfrm>
            <a:off x="2775502" y="3326462"/>
            <a:ext cx="1307467" cy="56829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6509502" y="3593676"/>
            <a:ext cx="19571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4088905" y="2619749"/>
            <a:ext cx="2340260" cy="62916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donner des soins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69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68</a:t>
            </a:r>
          </a:p>
        </p:txBody>
      </p:sp>
      <p:cxnSp>
        <p:nvCxnSpPr>
          <p:cNvPr id="51" name="Straight Connector 40"/>
          <p:cNvCxnSpPr>
            <a:cxnSpLocks/>
            <a:stCxn id="43" idx="3"/>
            <a:endCxn id="50" idx="1"/>
          </p:cNvCxnSpPr>
          <p:nvPr userDrawn="1"/>
        </p:nvCxnSpPr>
        <p:spPr bwMode="auto">
          <a:xfrm flipV="1">
            <a:off x="2775502" y="2934333"/>
            <a:ext cx="1313403" cy="39212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4AB8723D-F4E5-4600-831E-1C88393B8799}"/>
              </a:ext>
            </a:extLst>
          </p:cNvPr>
          <p:cNvSpPr/>
          <p:nvPr userDrawn="1"/>
        </p:nvSpPr>
        <p:spPr bwMode="auto">
          <a:xfrm>
            <a:off x="4082969" y="3568490"/>
            <a:ext cx="2352132" cy="6525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icap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23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MOS0070</a:t>
            </a:r>
          </a:p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0EB86556-C4D9-47AA-A0E0-DD641FB4558C}"/>
              </a:ext>
            </a:extLst>
          </p:cNvPr>
          <p:cNvCxnSpPr>
            <a:cxnSpLocks/>
            <a:stCxn id="43" idx="3"/>
          </p:cNvCxnSpPr>
          <p:nvPr userDrawn="1"/>
        </p:nvCxnSpPr>
        <p:spPr bwMode="auto">
          <a:xfrm>
            <a:off x="2775502" y="3326462"/>
            <a:ext cx="917358" cy="17150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3FA27AA-E7E1-44A5-A74D-8D37F9DE93DA}"/>
              </a:ext>
            </a:extLst>
          </p:cNvPr>
          <p:cNvSpPr/>
          <p:nvPr userDrawn="1"/>
        </p:nvSpPr>
        <p:spPr bwMode="auto">
          <a:xfrm>
            <a:off x="6548980" y="4494414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7" name="Image 66">
            <a:extLst>
              <a:ext uri="{FF2B5EF4-FFF2-40B4-BE49-F238E27FC236}">
                <a16:creationId xmlns:a16="http://schemas.microsoft.com/office/drawing/2014/main" id="{9F5544D6-BF36-4B2F-ABBF-7BBDE83B917F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426" y="4617132"/>
            <a:ext cx="318039" cy="336260"/>
          </a:xfrm>
          <a:prstGeom prst="rect">
            <a:avLst/>
          </a:prstGeom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91077C76-512D-431E-B29B-2D9C4E45AE5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249" y="1844824"/>
            <a:ext cx="318039" cy="336260"/>
          </a:xfrm>
          <a:prstGeom prst="rect">
            <a:avLst/>
          </a:prstGeom>
        </p:spPr>
      </p:pic>
      <p:pic>
        <p:nvPicPr>
          <p:cNvPr id="55" name="Image 54">
            <a:extLst>
              <a:ext uri="{FF2B5EF4-FFF2-40B4-BE49-F238E27FC236}">
                <a16:creationId xmlns:a16="http://schemas.microsoft.com/office/drawing/2014/main" id="{41848236-25D1-4BD0-A94F-83A78D05055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4822" y="2780928"/>
            <a:ext cx="318039" cy="336260"/>
          </a:xfrm>
          <a:prstGeom prst="rect">
            <a:avLst/>
          </a:prstGeom>
        </p:spPr>
      </p:pic>
      <p:pic>
        <p:nvPicPr>
          <p:cNvPr id="60" name="Image 59">
            <a:extLst>
              <a:ext uri="{FF2B5EF4-FFF2-40B4-BE49-F238E27FC236}">
                <a16:creationId xmlns:a16="http://schemas.microsoft.com/office/drawing/2014/main" id="{1C1D46C6-5C64-4FC3-9ED7-5ECD1B552D3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249" y="373250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77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temps partiel 3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209987" y="1477929"/>
            <a:ext cx="22667" cy="36432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2" name="Rectangle 121"/>
          <p:cNvSpPr/>
          <p:nvPr userDrawn="1"/>
        </p:nvSpPr>
        <p:spPr bwMode="auto">
          <a:xfrm>
            <a:off x="6386728" y="2024844"/>
            <a:ext cx="2153616" cy="57599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400692" y="4149144"/>
            <a:ext cx="2152708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3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026625" y="2816932"/>
            <a:ext cx="1440000" cy="120962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2913920" y="3140968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 autorisation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4664053" y="2024844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sur-cotisation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6</a:t>
            </a:r>
          </a:p>
        </p:txBody>
      </p:sp>
      <p:sp>
        <p:nvSpPr>
          <p:cNvPr id="103" name="Rectangle 102"/>
          <p:cNvSpPr/>
          <p:nvPr userDrawn="1"/>
        </p:nvSpPr>
        <p:spPr bwMode="auto">
          <a:xfrm>
            <a:off x="4689100" y="4113140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sur-cotisation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8</a:t>
            </a:r>
          </a:p>
        </p:txBody>
      </p:sp>
      <p:cxnSp>
        <p:nvCxnSpPr>
          <p:cNvPr id="104" name="Straight Connector 18"/>
          <p:cNvCxnSpPr>
            <a:stCxn id="101" idx="3"/>
            <a:endCxn id="102" idx="1"/>
          </p:cNvCxnSpPr>
          <p:nvPr userDrawn="1"/>
        </p:nvCxnSpPr>
        <p:spPr bwMode="auto">
          <a:xfrm flipV="1">
            <a:off x="4353920" y="2312844"/>
            <a:ext cx="310133" cy="111612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8"/>
          <p:cNvCxnSpPr>
            <a:stCxn id="101" idx="3"/>
            <a:endCxn id="103" idx="1"/>
          </p:cNvCxnSpPr>
          <p:nvPr userDrawn="1"/>
        </p:nvCxnSpPr>
        <p:spPr bwMode="auto">
          <a:xfrm>
            <a:off x="4353920" y="3428968"/>
            <a:ext cx="335180" cy="97217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1568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74008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3" name="Connecteur droit 92"/>
          <p:cNvCxnSpPr>
            <a:stCxn id="101" idx="1"/>
            <a:endCxn id="43" idx="3"/>
          </p:cNvCxnSpPr>
          <p:nvPr userDrawn="1"/>
        </p:nvCxnSpPr>
        <p:spPr bwMode="auto">
          <a:xfrm flipH="1" flipV="1">
            <a:off x="2466625" y="3421746"/>
            <a:ext cx="447295" cy="72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00" y="2132856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664968" y="3140968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sur-cotisation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3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6386728" y="3137389"/>
            <a:ext cx="214957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00" y="3267336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967" y="4249935"/>
            <a:ext cx="318039" cy="336260"/>
          </a:xfrm>
          <a:prstGeom prst="rect">
            <a:avLst/>
          </a:prstGeom>
        </p:spPr>
      </p:pic>
      <p:cxnSp>
        <p:nvCxnSpPr>
          <p:cNvPr id="50" name="Connecteur droit 49"/>
          <p:cNvCxnSpPr>
            <a:stCxn id="44" idx="1"/>
            <a:endCxn id="101" idx="3"/>
          </p:cNvCxnSpPr>
          <p:nvPr userDrawn="1"/>
        </p:nvCxnSpPr>
        <p:spPr bwMode="auto">
          <a:xfrm flipH="1">
            <a:off x="4353920" y="3428968"/>
            <a:ext cx="31104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52835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temps partiel 4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>
            <a:off x="7077236" y="1522468"/>
            <a:ext cx="0" cy="359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4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 ou prolongation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625408" y="1505506"/>
            <a:ext cx="0" cy="361389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9" name="Rectangle 48"/>
          <p:cNvSpPr/>
          <p:nvPr userDrawn="1"/>
        </p:nvSpPr>
        <p:spPr bwMode="auto">
          <a:xfrm>
            <a:off x="8786436" y="1488819"/>
            <a:ext cx="759600" cy="374008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1305814" y="310496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3635494" y="3051814"/>
            <a:ext cx="2217606" cy="82813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ésence parentale à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fr-FR" sz="1050" b="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temps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rtiel</a:t>
            </a:r>
          </a:p>
          <a:p>
            <a:pPr algn="ctr"/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7 (T)</a:t>
            </a:r>
          </a:p>
          <a:p>
            <a:pPr algn="ctr"/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9 (S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60" name="Straight Connector 18"/>
          <p:cNvCxnSpPr>
            <a:stCxn id="57" idx="3"/>
            <a:endCxn id="51" idx="1"/>
          </p:cNvCxnSpPr>
          <p:nvPr userDrawn="1"/>
        </p:nvCxnSpPr>
        <p:spPr bwMode="auto">
          <a:xfrm>
            <a:off x="2745814" y="3464964"/>
            <a:ext cx="889680" cy="9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 userDrawn="1"/>
        </p:nvSpPr>
        <p:spPr bwMode="auto">
          <a:xfrm>
            <a:off x="7113242" y="3912294"/>
            <a:ext cx="1512165" cy="104411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OUVELLEME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74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endParaRPr lang="fr-FR" sz="12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75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708" y="4265044"/>
            <a:ext cx="217584" cy="230050"/>
          </a:xfrm>
          <a:prstGeom prst="rect">
            <a:avLst/>
          </a:prstGeom>
        </p:spPr>
      </p:pic>
      <p:sp>
        <p:nvSpPr>
          <p:cNvPr id="81" name="Rectangle 80"/>
          <p:cNvSpPr/>
          <p:nvPr userDrawn="1"/>
        </p:nvSpPr>
        <p:spPr bwMode="auto">
          <a:xfrm>
            <a:off x="7100616" y="2240868"/>
            <a:ext cx="1499567" cy="104411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LONG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1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endParaRPr lang="fr-FR" sz="12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2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28" y="3167589"/>
            <a:ext cx="318039" cy="336260"/>
          </a:xfrm>
          <a:prstGeom prst="rect">
            <a:avLst/>
          </a:prstGeom>
        </p:spPr>
      </p:pic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462" y="2611513"/>
            <a:ext cx="217584" cy="230050"/>
          </a:xfrm>
          <a:prstGeom prst="rect">
            <a:avLst/>
          </a:prstGeom>
        </p:spPr>
      </p:pic>
      <p:pic>
        <p:nvPicPr>
          <p:cNvPr id="66" name="Image 65">
            <a:extLst>
              <a:ext uri="{FF2B5EF4-FFF2-40B4-BE49-F238E27FC236}">
                <a16:creationId xmlns:a16="http://schemas.microsoft.com/office/drawing/2014/main" id="{E57A535A-DAE7-4F0F-9D53-1FC010874774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7744" y="2996952"/>
            <a:ext cx="217584" cy="230050"/>
          </a:xfrm>
          <a:prstGeom prst="rect">
            <a:avLst/>
          </a:prstGeom>
        </p:spPr>
      </p:pic>
      <p:pic>
        <p:nvPicPr>
          <p:cNvPr id="68" name="Image 67">
            <a:extLst>
              <a:ext uri="{FF2B5EF4-FFF2-40B4-BE49-F238E27FC236}">
                <a16:creationId xmlns:a16="http://schemas.microsoft.com/office/drawing/2014/main" id="{ABD1E033-E07E-4EEB-931E-EAB23CFBEF0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299" y="4711365"/>
            <a:ext cx="217584" cy="230050"/>
          </a:xfrm>
          <a:prstGeom prst="rect">
            <a:avLst/>
          </a:prstGeom>
        </p:spPr>
      </p:pic>
      <p:pic>
        <p:nvPicPr>
          <p:cNvPr id="82" name="Image 81">
            <a:extLst>
              <a:ext uri="{FF2B5EF4-FFF2-40B4-BE49-F238E27FC236}">
                <a16:creationId xmlns:a16="http://schemas.microsoft.com/office/drawing/2014/main" id="{FA3FB0F4-ECE3-4A19-BA9D-93FD4157DF6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267" y="353871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127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que temps partiel 5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>
            <a:off x="7146906" y="1522468"/>
            <a:ext cx="0" cy="359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5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701527" y="2098650"/>
            <a:ext cx="2217606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solidarité familiale à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fr-FR" sz="1050" b="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temps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rtie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5 (T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0</a:t>
            </a:r>
            <a:r>
              <a:rPr lang="fr-FR" sz="110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(S)</a:t>
            </a: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 ou prolongation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505506"/>
            <a:ext cx="0" cy="361389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5" name="Rectangle 44"/>
          <p:cNvSpPr/>
          <p:nvPr userDrawn="1"/>
        </p:nvSpPr>
        <p:spPr bwMode="auto">
          <a:xfrm>
            <a:off x="3716806" y="3628336"/>
            <a:ext cx="2217606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oche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aidant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à temps partiel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5 (T)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1 (S)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8786436" y="1488819"/>
            <a:ext cx="759600" cy="374008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1305814" y="310496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cxnSp>
        <p:nvCxnSpPr>
          <p:cNvPr id="58" name="Straight Connector 18"/>
          <p:cNvCxnSpPr>
            <a:cxnSpLocks/>
            <a:stCxn id="57" idx="3"/>
            <a:endCxn id="43" idx="1"/>
          </p:cNvCxnSpPr>
          <p:nvPr userDrawn="1"/>
        </p:nvCxnSpPr>
        <p:spPr bwMode="auto">
          <a:xfrm flipV="1">
            <a:off x="2745814" y="2511800"/>
            <a:ext cx="955713" cy="95316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18"/>
          <p:cNvCxnSpPr>
            <a:stCxn id="57" idx="3"/>
            <a:endCxn id="45" idx="1"/>
          </p:cNvCxnSpPr>
          <p:nvPr userDrawn="1"/>
        </p:nvCxnSpPr>
        <p:spPr bwMode="auto">
          <a:xfrm>
            <a:off x="2745814" y="3464964"/>
            <a:ext cx="970992" cy="57652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ectangle 62"/>
          <p:cNvSpPr/>
          <p:nvPr userDrawn="1"/>
        </p:nvSpPr>
        <p:spPr bwMode="auto">
          <a:xfrm>
            <a:off x="7169016" y="2034201"/>
            <a:ext cx="1245333" cy="91253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16 (T)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1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7190654" y="3615270"/>
            <a:ext cx="1217767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8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endParaRPr lang="fr-FR" sz="12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9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116" y="228945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295" y="3860857"/>
            <a:ext cx="318039" cy="336260"/>
          </a:xfrm>
          <a:prstGeom prst="rect">
            <a:avLst/>
          </a:prstGeom>
        </p:spPr>
      </p:pic>
      <p:pic>
        <p:nvPicPr>
          <p:cNvPr id="7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463999" y="4211334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522" y="3825044"/>
            <a:ext cx="217584" cy="230050"/>
          </a:xfrm>
          <a:prstGeom prst="rect">
            <a:avLst/>
          </a:prstGeom>
        </p:spPr>
      </p:pic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66337" y="422108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890" y="2262846"/>
            <a:ext cx="217584" cy="230050"/>
          </a:xfrm>
          <a:prstGeom prst="rect">
            <a:avLst/>
          </a:prstGeom>
        </p:spPr>
      </p:pic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51520" y="2672164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67456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 6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168943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_ modification</a:t>
            </a:r>
            <a:r>
              <a:rPr lang="fr-FR" sz="1800" kern="0" baseline="0" dirty="0"/>
              <a:t> ou fin</a:t>
            </a:r>
            <a:r>
              <a:rPr lang="fr-FR" sz="1800" kern="0" dirty="0"/>
              <a:t> (6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6161" y="303116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68943"/>
            <a:ext cx="0" cy="395045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3526002" y="4305066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prise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s fonctions à temps ple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7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8714428" y="1488819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736161" y="3391163"/>
            <a:ext cx="789841" cy="12739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>
            <a:off x="7416612" y="1470326"/>
            <a:ext cx="758839" cy="36490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513678" y="3027942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pension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temps parti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1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Connecteur droit 27"/>
          <p:cNvCxnSpPr>
            <a:stCxn id="43" idx="3"/>
            <a:endCxn id="69" idx="1"/>
          </p:cNvCxnSpPr>
          <p:nvPr userDrawn="1"/>
        </p:nvCxnSpPr>
        <p:spPr bwMode="auto">
          <a:xfrm flipV="1">
            <a:off x="2736161" y="3387942"/>
            <a:ext cx="777517" cy="322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3519982" y="1644666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ment de quotité de temps partie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7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Connecteur droit 45"/>
          <p:cNvCxnSpPr>
            <a:stCxn id="43" idx="3"/>
            <a:endCxn id="45" idx="1"/>
          </p:cNvCxnSpPr>
          <p:nvPr userDrawn="1"/>
        </p:nvCxnSpPr>
        <p:spPr bwMode="auto">
          <a:xfrm flipV="1">
            <a:off x="2736161" y="2004666"/>
            <a:ext cx="783821" cy="138649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660" y="1814686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592" y="4543016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982" y="32363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74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  <a:cs typeface="+mn-cs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85" y="6310313"/>
            <a:ext cx="6477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1" y="1484313"/>
            <a:ext cx="9161523" cy="4465637"/>
          </a:xfrm>
        </p:spPr>
        <p:txBody>
          <a:bodyPr/>
          <a:lstStyle>
            <a:lvl1pPr>
              <a:defRPr sz="16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63" y="6288088"/>
            <a:ext cx="417512" cy="511175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2E213F33-44B3-4E5A-874B-1241FE46FE4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2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sp>
        <p:nvSpPr>
          <p:cNvPr id="4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8157356" y="6356350"/>
            <a:ext cx="1296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endParaRPr lang="fr-FR" dirty="0"/>
          </a:p>
        </p:txBody>
      </p:sp>
      <p:sp>
        <p:nvSpPr>
          <p:cNvPr id="4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2418611" y="6356350"/>
            <a:ext cx="573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Réunion de suivi des missions d'appuis et d'expertises au CISIRH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49" name="Hexagone 48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0" name="Hexagone 49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1" name="Hexagone 50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2" name="Hexagone 51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3" name="Hexagone 52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4" name="Hexagone 53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5" name="Hexagone 54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56" name="Picture 4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7" name="Hexagone 56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915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emps partiel 7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168943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_ Thérapeutique (7/7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6161" y="303116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68943"/>
            <a:ext cx="0" cy="395045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14428" y="1488819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7416612" y="2456892"/>
            <a:ext cx="758839" cy="266250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548844" y="4192211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 thérapeutique fi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5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6 (S)</a:t>
            </a:r>
          </a:p>
        </p:txBody>
      </p:sp>
      <p:cxnSp>
        <p:nvCxnSpPr>
          <p:cNvPr id="28" name="Connecteur droit 27"/>
          <p:cNvCxnSpPr>
            <a:stCxn id="43" idx="3"/>
            <a:endCxn id="69" idx="1"/>
          </p:cNvCxnSpPr>
          <p:nvPr userDrawn="1"/>
        </p:nvCxnSpPr>
        <p:spPr bwMode="auto">
          <a:xfrm>
            <a:off x="2736161" y="3391163"/>
            <a:ext cx="812683" cy="11610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3520287" y="2996952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hangement de quotit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 temps partiel thérapeutiqu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2 (T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3 (T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44" name="Connecteur droit 43"/>
          <p:cNvCxnSpPr>
            <a:stCxn id="43" idx="3"/>
            <a:endCxn id="42" idx="1"/>
          </p:cNvCxnSpPr>
          <p:nvPr userDrawn="1"/>
        </p:nvCxnSpPr>
        <p:spPr bwMode="auto">
          <a:xfrm flipV="1">
            <a:off x="2736161" y="3356952"/>
            <a:ext cx="784126" cy="3421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Connecteur droit 45"/>
          <p:cNvCxnSpPr>
            <a:stCxn id="43" idx="3"/>
          </p:cNvCxnSpPr>
          <p:nvPr userDrawn="1"/>
        </p:nvCxnSpPr>
        <p:spPr bwMode="auto">
          <a:xfrm flipV="1">
            <a:off x="2736161" y="1898434"/>
            <a:ext cx="783821" cy="14927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828" y="1723920"/>
            <a:ext cx="318039" cy="336260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3548844" y="1531280"/>
            <a:ext cx="2535669" cy="7982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thérapeutique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2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3 (S)</a:t>
            </a:r>
          </a:p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7190079" y="1529707"/>
            <a:ext cx="1255309" cy="79980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4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5 (S)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1917570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677" y="3272760"/>
            <a:ext cx="318039" cy="336260"/>
          </a:xfrm>
          <a:prstGeom prst="rect">
            <a:avLst/>
          </a:prstGeom>
        </p:spPr>
      </p:pic>
      <p:pic>
        <p:nvPicPr>
          <p:cNvPr id="62" name="Image 61">
            <a:extLst>
              <a:ext uri="{FF2B5EF4-FFF2-40B4-BE49-F238E27FC236}">
                <a16:creationId xmlns:a16="http://schemas.microsoft.com/office/drawing/2014/main" id="{047AE544-7DB0-445D-89A4-A244756F7F6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44248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612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élétrav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>
            <a:off x="7146906" y="1522468"/>
            <a:ext cx="0" cy="359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élétravail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316596" y="3069040"/>
            <a:ext cx="241226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létravai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505506"/>
            <a:ext cx="0" cy="361389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cxnSp>
        <p:nvCxnSpPr>
          <p:cNvPr id="44" name="Straight Connector 18"/>
          <p:cNvCxnSpPr>
            <a:stCxn id="43" idx="3"/>
            <a:endCxn id="46" idx="1"/>
          </p:cNvCxnSpPr>
          <p:nvPr userDrawn="1"/>
        </p:nvCxnSpPr>
        <p:spPr bwMode="auto">
          <a:xfrm flipV="1">
            <a:off x="3728864" y="2312836"/>
            <a:ext cx="781660" cy="111620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18"/>
          <p:cNvCxnSpPr>
            <a:stCxn id="43" idx="3"/>
            <a:endCxn id="62" idx="1"/>
          </p:cNvCxnSpPr>
          <p:nvPr userDrawn="1"/>
        </p:nvCxnSpPr>
        <p:spPr bwMode="auto">
          <a:xfrm>
            <a:off x="3728864" y="3429040"/>
            <a:ext cx="781660" cy="10081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Rectangle 45"/>
          <p:cNvSpPr/>
          <p:nvPr userDrawn="1"/>
        </p:nvSpPr>
        <p:spPr bwMode="auto">
          <a:xfrm>
            <a:off x="4510524" y="1952836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Télétravail initial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INTMOS0025</a:t>
            </a: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4510524" y="3068960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Télétravail initial</a:t>
            </a:r>
            <a:r>
              <a:rPr lang="fr-FR" sz="1050" b="0" i="1" kern="0" baseline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 avec période d’adaptation</a:t>
            </a:r>
          </a:p>
          <a:p>
            <a:pPr algn="ctr"/>
            <a:r>
              <a:rPr lang="fr-FR" sz="1050" b="0" i="1" kern="0" baseline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INTMOS0026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7233752" y="1623396"/>
            <a:ext cx="1127593" cy="338520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31143" y="3240635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37176" y="215578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009" y="428953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510524" y="4077152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Télétravail fin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INTMOS0027</a:t>
            </a:r>
          </a:p>
        </p:txBody>
      </p:sp>
      <p:cxnSp>
        <p:nvCxnSpPr>
          <p:cNvPr id="63" name="Straight Connector 18"/>
          <p:cNvCxnSpPr>
            <a:stCxn id="43" idx="3"/>
            <a:endCxn id="47" idx="1"/>
          </p:cNvCxnSpPr>
          <p:nvPr userDrawn="1"/>
        </p:nvCxnSpPr>
        <p:spPr bwMode="auto">
          <a:xfrm flipV="1">
            <a:off x="3728864" y="3428960"/>
            <a:ext cx="781660" cy="8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723147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 bwMode="auto">
          <a:xfrm>
            <a:off x="7214252" y="1952836"/>
            <a:ext cx="11608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maladie ordinair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310119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ladie ordinaire (CMO) avec jour de carenc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157198" y="1981300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avec jour de carence (avec impact sur rémunération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8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80974" y="2341300"/>
            <a:ext cx="576224" cy="111989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Rectangle 99"/>
          <p:cNvSpPr/>
          <p:nvPr userDrawn="1"/>
        </p:nvSpPr>
        <p:spPr bwMode="auto">
          <a:xfrm>
            <a:off x="3157198" y="4223088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sans impact sur rémunération</a:t>
            </a:r>
          </a:p>
        </p:txBody>
      </p:sp>
      <p:cxnSp>
        <p:nvCxnSpPr>
          <p:cNvPr id="101" name="Straight Connector 34"/>
          <p:cNvCxnSpPr>
            <a:stCxn id="72" idx="3"/>
            <a:endCxn id="100" idx="1"/>
          </p:cNvCxnSpPr>
          <p:nvPr userDrawn="1"/>
        </p:nvCxnSpPr>
        <p:spPr bwMode="auto">
          <a:xfrm>
            <a:off x="2580974" y="3461194"/>
            <a:ext cx="576224" cy="112189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Rectangle 101"/>
          <p:cNvSpPr/>
          <p:nvPr userDrawn="1"/>
        </p:nvSpPr>
        <p:spPr bwMode="auto">
          <a:xfrm>
            <a:off x="6198602" y="4223088"/>
            <a:ext cx="793957" cy="720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0151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8699945" y="1628848"/>
            <a:ext cx="793957" cy="34263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2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9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0" name="Groupe 5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6" name="Rectangle 45"/>
          <p:cNvSpPr/>
          <p:nvPr userDrawn="1"/>
        </p:nvSpPr>
        <p:spPr bwMode="auto">
          <a:xfrm>
            <a:off x="7400500" y="4233465"/>
            <a:ext cx="793957" cy="720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906" y="2148370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459" y="21814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0630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CIT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 userDrawn="1"/>
        </p:nvSpPr>
        <p:spPr bwMode="auto">
          <a:xfrm>
            <a:off x="7773764" y="3573016"/>
            <a:ext cx="97526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104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6673633" y="3573016"/>
            <a:ext cx="1059025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102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7761312" y="2507709"/>
            <a:ext cx="97526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96</a:t>
            </a:r>
            <a:endParaRPr lang="fr-FR" sz="9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693889" y="2503163"/>
            <a:ext cx="1059025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98</a:t>
            </a: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’invalidité temporaire imputable</a:t>
            </a:r>
          </a:p>
          <a:p>
            <a:pPr eaLnBrk="1" hangingPunct="1"/>
            <a:r>
              <a:rPr lang="fr-FR" sz="1800" kern="0" dirty="0"/>
              <a:t> au service = CITI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1244588" y="3094353"/>
            <a:ext cx="1620000" cy="84475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 CITIS (ou CITIS à titre provisoire) imputable au service 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65341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737292" y="125613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6759259" y="1292146"/>
            <a:ext cx="9889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67555" y="1628847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6656869" y="1191377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753233" y="1232400"/>
            <a:ext cx="0" cy="402348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33188" y="3516729"/>
            <a:ext cx="2311900" cy="924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CITIS à titre proviso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9 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2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.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4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qualif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’ maladie en CITIS provisoire)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3433188" y="2456892"/>
            <a:ext cx="2311900" cy="8093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CIT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5 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8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.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6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qualif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’ maladie en CITIS)</a:t>
            </a:r>
          </a:p>
        </p:txBody>
      </p:sp>
      <p:cxnSp>
        <p:nvCxnSpPr>
          <p:cNvPr id="19" name="Connecteur droit 18"/>
          <p:cNvCxnSpPr>
            <a:stCxn id="74" idx="3"/>
          </p:cNvCxnSpPr>
          <p:nvPr userDrawn="1"/>
        </p:nvCxnSpPr>
        <p:spPr bwMode="auto">
          <a:xfrm flipV="1">
            <a:off x="2864588" y="2861585"/>
            <a:ext cx="568600" cy="6551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2864588" y="3516730"/>
            <a:ext cx="568600" cy="4624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373631" y="4800004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4" name="Groupe 6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ZoneTexte 8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87" name="TextBox 54"/>
          <p:cNvSpPr txBox="1"/>
          <p:nvPr userDrawn="1"/>
        </p:nvSpPr>
        <p:spPr>
          <a:xfrm>
            <a:off x="6472437" y="6340688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8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3" name="Rectangle à coins arrondis 2"/>
          <p:cNvSpPr/>
          <p:nvPr userDrawn="1"/>
        </p:nvSpPr>
        <p:spPr bwMode="auto">
          <a:xfrm>
            <a:off x="1092525" y="2015963"/>
            <a:ext cx="1666928" cy="303598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  <a:hlinkClick r:id="rId14" action="ppaction://hlinksldjump"/>
              </a:rPr>
              <a:t>CF page 4</a:t>
            </a:r>
            <a:endParaRPr lang="fr-FR" sz="1200" b="1" kern="0" dirty="0">
              <a:solidFill>
                <a:srgbClr val="FF9933"/>
              </a:solidFill>
              <a:latin typeface="+mn-lt"/>
              <a:cs typeface="ＭＳ Ｐゴシック"/>
            </a:endParaRP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72" y="1292146"/>
            <a:ext cx="544818" cy="546934"/>
          </a:xfrm>
          <a:prstGeom prst="rect">
            <a:avLst/>
          </a:prstGeom>
        </p:spPr>
      </p:pic>
      <p:sp>
        <p:nvSpPr>
          <p:cNvPr id="22" name="Rectangle à coins arrondis 21"/>
          <p:cNvSpPr/>
          <p:nvPr userDrawn="1"/>
        </p:nvSpPr>
        <p:spPr bwMode="auto">
          <a:xfrm>
            <a:off x="3666802" y="4509120"/>
            <a:ext cx="2006278" cy="895793"/>
          </a:xfrm>
          <a:prstGeom prst="wedgeRoundRectCallout">
            <a:avLst>
              <a:gd name="adj1" fmla="val 55082"/>
              <a:gd name="adj2" fmla="val -51844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En cas de retrait, il faudra requalifier l’acte en CMO, CLM ou CLD </a:t>
            </a:r>
          </a:p>
        </p:txBody>
      </p:sp>
      <p:pic>
        <p:nvPicPr>
          <p:cNvPr id="25" name="Image 2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391" y="4149080"/>
            <a:ext cx="263713" cy="317952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832" y="2724065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355" y="3826504"/>
            <a:ext cx="318039" cy="336260"/>
          </a:xfrm>
          <a:prstGeom prst="rect">
            <a:avLst/>
          </a:prstGeom>
        </p:spPr>
      </p:pic>
      <p:cxnSp>
        <p:nvCxnSpPr>
          <p:cNvPr id="72" name="Straight Connector 66"/>
          <p:cNvCxnSpPr/>
          <p:nvPr userDrawn="1"/>
        </p:nvCxnSpPr>
        <p:spPr bwMode="auto">
          <a:xfrm flipH="1">
            <a:off x="7742182" y="1215201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TextBox 69"/>
          <p:cNvSpPr txBox="1"/>
          <p:nvPr userDrawn="1"/>
        </p:nvSpPr>
        <p:spPr>
          <a:xfrm>
            <a:off x="7653300" y="1304764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qualification</a:t>
            </a:r>
          </a:p>
        </p:txBody>
      </p:sp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296" y="2758820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904" y="2745105"/>
            <a:ext cx="318039" cy="336260"/>
          </a:xfrm>
          <a:prstGeom prst="rect">
            <a:avLst/>
          </a:prstGeom>
        </p:spPr>
      </p:pic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25" y="3825044"/>
            <a:ext cx="318039" cy="336260"/>
          </a:xfrm>
          <a:prstGeom prst="rect">
            <a:avLst/>
          </a:prstGeom>
        </p:spPr>
      </p:pic>
      <p:pic>
        <p:nvPicPr>
          <p:cNvPr id="93" name="Image 9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985" y="3825044"/>
            <a:ext cx="318039" cy="336260"/>
          </a:xfrm>
          <a:prstGeom prst="rect">
            <a:avLst/>
          </a:prstGeom>
        </p:spPr>
      </p:pic>
      <p:sp>
        <p:nvSpPr>
          <p:cNvPr id="94" name="Rectangle 93"/>
          <p:cNvSpPr/>
          <p:nvPr userDrawn="1"/>
        </p:nvSpPr>
        <p:spPr bwMode="auto">
          <a:xfrm>
            <a:off x="1244588" y="4171875"/>
            <a:ext cx="1620000" cy="131992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onnaissance imputabilité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0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fus reconnaissance imputabilité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1</a:t>
            </a:r>
          </a:p>
        </p:txBody>
      </p:sp>
      <p:pic>
        <p:nvPicPr>
          <p:cNvPr id="9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484659" y="509638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493567" y="461665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47322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que CLM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maladie</a:t>
            </a:r>
          </a:p>
          <a:p>
            <a:pPr eaLnBrk="1" hangingPunct="1"/>
            <a:r>
              <a:rPr lang="fr-FR" sz="1800" kern="0" dirty="0"/>
              <a:t>(1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56556" y="299695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 longue maladie (CLM)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93783" y="2944287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maladie (CLM) contractée dans l’exercice des fonctions</a:t>
            </a:r>
          </a:p>
        </p:txBody>
      </p:sp>
      <p:cxnSp>
        <p:nvCxnSpPr>
          <p:cNvPr id="75" name="Straight Connector 34"/>
          <p:cNvCxnSpPr>
            <a:endCxn id="74" idx="1"/>
          </p:cNvCxnSpPr>
          <p:nvPr userDrawn="1"/>
        </p:nvCxnSpPr>
        <p:spPr bwMode="auto">
          <a:xfrm>
            <a:off x="2416632" y="3304287"/>
            <a:ext cx="377151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213140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1739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5725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03459" y="1603671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7294761" y="1196752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21077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4788064" y="3489436"/>
            <a:ext cx="1620000" cy="7645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fractionné contracté dans l’exercice des fonction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4788064" y="2399138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contracté d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l’exercice des fonctions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</p:txBody>
      </p:sp>
      <p:cxnSp>
        <p:nvCxnSpPr>
          <p:cNvPr id="19" name="Connecteur droit 18"/>
          <p:cNvCxnSpPr>
            <a:stCxn id="74" idx="3"/>
            <a:endCxn id="79" idx="1"/>
          </p:cNvCxnSpPr>
          <p:nvPr userDrawn="1"/>
        </p:nvCxnSpPr>
        <p:spPr bwMode="auto">
          <a:xfrm flipV="1">
            <a:off x="4413783" y="2759138"/>
            <a:ext cx="374281" cy="54514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4413783" y="3304287"/>
            <a:ext cx="374281" cy="56741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373631" y="4800004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930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4" name="Groupe 6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ZoneTexte 8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87" name="TextBox 54"/>
          <p:cNvSpPr txBox="1"/>
          <p:nvPr userDrawn="1"/>
        </p:nvSpPr>
        <p:spPr>
          <a:xfrm>
            <a:off x="6472437" y="6340688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8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3" name="Rectangle à coins arrondis 2"/>
          <p:cNvSpPr/>
          <p:nvPr userDrawn="1"/>
        </p:nvSpPr>
        <p:spPr bwMode="auto">
          <a:xfrm>
            <a:off x="1092525" y="1888352"/>
            <a:ext cx="1666928" cy="743175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</a:rPr>
              <a:t>CF page 4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Acte substitué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 par l’acte CITIS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3850" y="1150905"/>
            <a:ext cx="544818" cy="546934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1819" y="3145607"/>
            <a:ext cx="275649" cy="27672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7528655" y="1603672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obje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535732" y="1603672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</p:spTree>
    <p:extLst>
      <p:ext uri="{BB962C8B-B14F-4D97-AF65-F5344CB8AC3E}">
        <p14:creationId xmlns:p14="http://schemas.microsoft.com/office/powerpoint/2010/main" val="35680463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CLM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289385" y="1714007"/>
            <a:ext cx="1107670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0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maladie</a:t>
            </a:r>
            <a:r>
              <a:rPr lang="fr-FR" sz="1800" kern="0" baseline="0" dirty="0"/>
              <a:t> </a:t>
            </a:r>
            <a:r>
              <a:rPr lang="fr-FR" sz="1800" kern="0" dirty="0"/>
              <a:t>(2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1052458" y="3127946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maladie (CLM) contracté hors exerci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13140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1739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5725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695547" y="1628847"/>
            <a:ext cx="793957" cy="35449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7306729" y="1609457"/>
            <a:ext cx="1" cy="35924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21077" y="1623397"/>
            <a:ext cx="0" cy="36375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112236" y="1698899"/>
            <a:ext cx="17155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contracté hors exercice des fonction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5 (initial)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098905" y="264428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fractionné contracté hors exercice des fonctions</a:t>
            </a:r>
          </a:p>
        </p:txBody>
      </p:sp>
      <p:cxnSp>
        <p:nvCxnSpPr>
          <p:cNvPr id="23" name="Connecteur droit 22"/>
          <p:cNvCxnSpPr>
            <a:stCxn id="102" idx="3"/>
          </p:cNvCxnSpPr>
          <p:nvPr userDrawn="1"/>
        </p:nvCxnSpPr>
        <p:spPr bwMode="auto">
          <a:xfrm>
            <a:off x="2672458" y="3487946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102" idx="3"/>
            <a:endCxn id="95" idx="1"/>
          </p:cNvCxnSpPr>
          <p:nvPr userDrawn="1"/>
        </p:nvCxnSpPr>
        <p:spPr bwMode="auto">
          <a:xfrm flipV="1">
            <a:off x="2672458" y="2058899"/>
            <a:ext cx="1439778" cy="142904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stCxn id="102" idx="3"/>
            <a:endCxn id="96" idx="1"/>
          </p:cNvCxnSpPr>
          <p:nvPr userDrawn="1"/>
        </p:nvCxnSpPr>
        <p:spPr bwMode="auto">
          <a:xfrm flipV="1">
            <a:off x="2672458" y="3004288"/>
            <a:ext cx="1426447" cy="4836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930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grpSp>
        <p:nvGrpSpPr>
          <p:cNvPr id="99" name="Groupe 9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10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ZoneTexte 8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186" y="1833109"/>
            <a:ext cx="318039" cy="336260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725" y="1952836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4146160" y="440118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 CLM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38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>
            <a:off x="4134048" y="352273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qualific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MO e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05</a:t>
            </a:r>
          </a:p>
        </p:txBody>
      </p:sp>
      <p:cxnSp>
        <p:nvCxnSpPr>
          <p:cNvPr id="69" name="Connecteur droit 68"/>
          <p:cNvCxnSpPr>
            <a:stCxn id="102" idx="3"/>
            <a:endCxn id="61" idx="1"/>
          </p:cNvCxnSpPr>
          <p:nvPr userDrawn="1"/>
        </p:nvCxnSpPr>
        <p:spPr bwMode="auto">
          <a:xfrm>
            <a:off x="2672458" y="3487946"/>
            <a:ext cx="1461590" cy="39479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Connecteur droit 73"/>
          <p:cNvCxnSpPr/>
          <p:nvPr userDrawn="1"/>
        </p:nvCxnSpPr>
        <p:spPr bwMode="auto">
          <a:xfrm>
            <a:off x="2672458" y="3502245"/>
            <a:ext cx="1473702" cy="127324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Rectangle 74"/>
          <p:cNvSpPr/>
          <p:nvPr userDrawn="1"/>
        </p:nvSpPr>
        <p:spPr bwMode="auto">
          <a:xfrm>
            <a:off x="7464619" y="3522737"/>
            <a:ext cx="798568" cy="165839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6366985" y="2648877"/>
            <a:ext cx="1859191" cy="72014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 BDA</a:t>
            </a: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893" y="3679816"/>
            <a:ext cx="318039" cy="336260"/>
          </a:xfrm>
          <a:prstGeom prst="rect">
            <a:avLst/>
          </a:prstGeom>
        </p:spPr>
      </p:pic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78099" y="462804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953573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LD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durée (1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96958" y="314471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longue duré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D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94033" y="3144713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durée (CLD) contractée dans l’exercice des fonctions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436958" y="3504713"/>
            <a:ext cx="35707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44801" y="2006904"/>
            <a:ext cx="793957" cy="279576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4771108" y="3744549"/>
            <a:ext cx="1620000" cy="76453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fractionné contracté dans l’exercice des fonction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4779896" y="2451899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contracté d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l’exercice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9" name="Connecteur droit 18"/>
          <p:cNvCxnSpPr>
            <a:stCxn id="74" idx="3"/>
            <a:endCxn id="79" idx="1"/>
          </p:cNvCxnSpPr>
          <p:nvPr userDrawn="1"/>
        </p:nvCxnSpPr>
        <p:spPr bwMode="auto">
          <a:xfrm flipV="1">
            <a:off x="4414033" y="2811899"/>
            <a:ext cx="365863" cy="69281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4414033" y="3504713"/>
            <a:ext cx="357075" cy="62210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414033" y="4509080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3" name="Image 9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938" y="1093909"/>
            <a:ext cx="544818" cy="546934"/>
          </a:xfrm>
          <a:prstGeom prst="rect">
            <a:avLst/>
          </a:prstGeom>
        </p:spPr>
      </p:pic>
      <p:pic>
        <p:nvPicPr>
          <p:cNvPr id="94" name="Image 9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9396" y="3400684"/>
            <a:ext cx="275649" cy="276720"/>
          </a:xfrm>
          <a:prstGeom prst="rect">
            <a:avLst/>
          </a:prstGeom>
        </p:spPr>
      </p:pic>
      <p:sp>
        <p:nvSpPr>
          <p:cNvPr id="97" name="Rectangle à coins arrondis 96"/>
          <p:cNvSpPr/>
          <p:nvPr userDrawn="1"/>
        </p:nvSpPr>
        <p:spPr bwMode="auto">
          <a:xfrm>
            <a:off x="955544" y="1812581"/>
            <a:ext cx="1666928" cy="743175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</a:rPr>
              <a:t>CF page 4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Acte substitué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 par l’acte CITIS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84696" y="2006904"/>
            <a:ext cx="793957" cy="2795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9" name="Rectangle 98"/>
          <p:cNvSpPr/>
          <p:nvPr userDrawn="1"/>
        </p:nvSpPr>
        <p:spPr bwMode="auto">
          <a:xfrm>
            <a:off x="6459529" y="2006904"/>
            <a:ext cx="798568" cy="2795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</p:spTree>
    <p:extLst>
      <p:ext uri="{BB962C8B-B14F-4D97-AF65-F5344CB8AC3E}">
        <p14:creationId xmlns:p14="http://schemas.microsoft.com/office/powerpoint/2010/main" val="3541819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LD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364066" y="1804309"/>
            <a:ext cx="1114348" cy="67163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04</a:t>
            </a:r>
            <a:endParaRPr lang="fr-FR" sz="100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durée (2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1208584" y="3177052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durée (CLD) contracté hors exerci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791407" y="1930883"/>
            <a:ext cx="1620000" cy="5892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</a:t>
            </a: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3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789336" y="3231482"/>
            <a:ext cx="1620000" cy="5935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fractionné</a:t>
            </a:r>
          </a:p>
        </p:txBody>
      </p:sp>
      <p:cxnSp>
        <p:nvCxnSpPr>
          <p:cNvPr id="23" name="Connecteur droit 22"/>
          <p:cNvCxnSpPr>
            <a:stCxn id="102" idx="3"/>
          </p:cNvCxnSpPr>
          <p:nvPr userDrawn="1"/>
        </p:nvCxnSpPr>
        <p:spPr bwMode="auto">
          <a:xfrm>
            <a:off x="2828584" y="3537052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102" idx="3"/>
            <a:endCxn id="95" idx="1"/>
          </p:cNvCxnSpPr>
          <p:nvPr userDrawn="1"/>
        </p:nvCxnSpPr>
        <p:spPr bwMode="auto">
          <a:xfrm flipV="1">
            <a:off x="2828584" y="2225509"/>
            <a:ext cx="1962823" cy="131154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stCxn id="102" idx="3"/>
            <a:endCxn id="96" idx="1"/>
          </p:cNvCxnSpPr>
          <p:nvPr userDrawn="1"/>
        </p:nvCxnSpPr>
        <p:spPr bwMode="auto">
          <a:xfrm flipV="1">
            <a:off x="2828584" y="3528263"/>
            <a:ext cx="1960752" cy="878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92" name="Image 9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622" y="199594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6694" y="2021421"/>
            <a:ext cx="318039" cy="336260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4777575" y="4437112"/>
            <a:ext cx="1620000" cy="5532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 CLD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1 </a:t>
            </a:r>
          </a:p>
        </p:txBody>
      </p:sp>
      <p:cxnSp>
        <p:nvCxnSpPr>
          <p:cNvPr id="68" name="Connecteur droit 67"/>
          <p:cNvCxnSpPr>
            <a:endCxn id="57" idx="1"/>
          </p:cNvCxnSpPr>
          <p:nvPr userDrawn="1"/>
        </p:nvCxnSpPr>
        <p:spPr bwMode="auto">
          <a:xfrm>
            <a:off x="2828584" y="3549370"/>
            <a:ext cx="1948991" cy="1164366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028658" y="211101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Rectangle 78"/>
          <p:cNvSpPr/>
          <p:nvPr userDrawn="1"/>
        </p:nvSpPr>
        <p:spPr bwMode="auto">
          <a:xfrm>
            <a:off x="7486978" y="4365104"/>
            <a:ext cx="793957" cy="65761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8769424" y="2960948"/>
            <a:ext cx="793957" cy="212523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6716433" y="3284984"/>
            <a:ext cx="1517450" cy="47255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3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9B5433EF-D806-4C97-853A-F1A04D6758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17394" y="4566622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7453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CLD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requalifié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568783" y="3573096"/>
            <a:ext cx="2080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qualification en Congé de longue duré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D)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764090" y="2925024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CMO en CLD</a:t>
            </a:r>
            <a:endParaRPr lang="fr-FR" sz="1050" i="1" kern="0" dirty="0">
              <a:solidFill>
                <a:srgbClr val="004272"/>
              </a:solidFill>
              <a:latin typeface="Arial (Corps)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6</a:t>
            </a:r>
            <a:endParaRPr lang="fr-FR" sz="1050" i="1" kern="0" baseline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763891" y="4185084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 CLM en CLD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8</a:t>
            </a:r>
          </a:p>
        </p:txBody>
      </p:sp>
      <p:cxnSp>
        <p:nvCxnSpPr>
          <p:cNvPr id="23" name="Connecteur droit 22"/>
          <p:cNvCxnSpPr/>
          <p:nvPr userDrawn="1"/>
        </p:nvCxnSpPr>
        <p:spPr bwMode="auto">
          <a:xfrm>
            <a:off x="4320208" y="3503031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72" idx="3"/>
            <a:endCxn id="95" idx="1"/>
          </p:cNvCxnSpPr>
          <p:nvPr userDrawn="1"/>
        </p:nvCxnSpPr>
        <p:spPr bwMode="auto">
          <a:xfrm flipV="1">
            <a:off x="3649542" y="3285024"/>
            <a:ext cx="1114548" cy="64807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endCxn id="96" idx="1"/>
          </p:cNvCxnSpPr>
          <p:nvPr userDrawn="1"/>
        </p:nvCxnSpPr>
        <p:spPr bwMode="auto">
          <a:xfrm>
            <a:off x="3661666" y="3933096"/>
            <a:ext cx="1102225" cy="61198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1568624" y="1808820"/>
            <a:ext cx="2080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qualification en Congé de longue maladie 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M)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4772980" y="1808900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 CMO en CLM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5</a:t>
            </a:r>
          </a:p>
        </p:txBody>
      </p:sp>
      <p:cxnSp>
        <p:nvCxnSpPr>
          <p:cNvPr id="57" name="Connecteur droit 56"/>
          <p:cNvCxnSpPr>
            <a:stCxn id="55" idx="3"/>
            <a:endCxn id="56" idx="1"/>
          </p:cNvCxnSpPr>
          <p:nvPr userDrawn="1"/>
        </p:nvCxnSpPr>
        <p:spPr bwMode="auto">
          <a:xfrm>
            <a:off x="3649383" y="2168820"/>
            <a:ext cx="1123597" cy="8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>
            <a:off x="7486978" y="146633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8695547" y="1466337"/>
            <a:ext cx="793957" cy="363211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695" y="4439887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924" y="3092644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695" y="198572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6670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mater pater ad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38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liés à la parenta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446181" y="1520788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materni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7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64355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12627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4245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90778" y="1466383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86978" y="146633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60314" y="1466739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16308" y="1460932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446181" y="2517177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ternité et de l’accueil de l’enfa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4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7 (S)</a:t>
            </a:r>
          </a:p>
        </p:txBody>
      </p:sp>
      <p:sp>
        <p:nvSpPr>
          <p:cNvPr id="91" name="Rectangle 90"/>
          <p:cNvSpPr/>
          <p:nvPr userDrawn="1"/>
        </p:nvSpPr>
        <p:spPr bwMode="auto">
          <a:xfrm>
            <a:off x="2446181" y="356112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17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6 (S)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 rot="16200000">
            <a:off x="-1409734" y="303513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cxnSp>
        <p:nvCxnSpPr>
          <p:cNvPr id="4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4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pic>
        <p:nvPicPr>
          <p:cNvPr id="44" name="Image 4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ZoneTexte 8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854" y="3752996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187" y="2708776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082" y="1724588"/>
            <a:ext cx="318039" cy="336260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2446181" y="4545204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naissance ou 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09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39 (S)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940" y="47129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33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34" name="Title 1"/>
          <p:cNvSpPr txBox="1">
            <a:spLocks/>
          </p:cNvSpPr>
          <p:nvPr userDrawn="1"/>
        </p:nvSpPr>
        <p:spPr bwMode="gray">
          <a:xfrm>
            <a:off x="489776" y="25920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r>
              <a:rPr lang="fr-FR" sz="1800" kern="0" dirty="0"/>
              <a:t>Parcours d’un agent fonctionnaire</a:t>
            </a:r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2490930" y="1153820"/>
            <a:ext cx="7143054" cy="40306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2500861" y="5251266"/>
            <a:ext cx="7132661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8" name="Rectangle 37"/>
          <p:cNvSpPr/>
          <p:nvPr userDrawn="1"/>
        </p:nvSpPr>
        <p:spPr bwMode="auto">
          <a:xfrm>
            <a:off x="32076" y="5275130"/>
            <a:ext cx="2241679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39" name="Curved Connector 23"/>
          <p:cNvCxnSpPr>
            <a:stCxn id="106" idx="0"/>
          </p:cNvCxnSpPr>
          <p:nvPr userDrawn="1"/>
        </p:nvCxnSpPr>
        <p:spPr bwMode="auto">
          <a:xfrm>
            <a:off x="2144387" y="1377219"/>
            <a:ext cx="318051" cy="256145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" name="Curved Connector 289"/>
          <p:cNvCxnSpPr>
            <a:endCxn id="47" idx="0"/>
          </p:cNvCxnSpPr>
          <p:nvPr userDrawn="1"/>
        </p:nvCxnSpPr>
        <p:spPr bwMode="auto">
          <a:xfrm rot="10800000">
            <a:off x="2108465" y="4448452"/>
            <a:ext cx="353981" cy="289905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1" name="Rectangle 6"/>
          <p:cNvSpPr>
            <a:spLocks noChangeArrowheads="1"/>
          </p:cNvSpPr>
          <p:nvPr userDrawn="1"/>
        </p:nvSpPr>
        <p:spPr bwMode="auto">
          <a:xfrm>
            <a:off x="4948120" y="1232800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Progression dans la carrière</a:t>
            </a:r>
          </a:p>
        </p:txBody>
      </p:sp>
      <p:sp>
        <p:nvSpPr>
          <p:cNvPr id="42" name="Rectangle 41">
            <a:hlinkClick r:id="rId2" action="ppaction://hlinksldjump"/>
          </p:cNvPr>
          <p:cNvSpPr/>
          <p:nvPr userDrawn="1"/>
        </p:nvSpPr>
        <p:spPr bwMode="auto">
          <a:xfrm>
            <a:off x="4948120" y="18088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AVANCEMENT D’ECHEL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3" name="Rectangle 42">
            <a:hlinkClick r:id="rId4" action="ppaction://hlinksldjump"/>
          </p:cNvPr>
          <p:cNvSpPr/>
          <p:nvPr userDrawn="1"/>
        </p:nvSpPr>
        <p:spPr bwMode="auto">
          <a:xfrm>
            <a:off x="4948120" y="1970868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5" action="ppaction://hlinksldjump"/>
              </a:rPr>
              <a:t>AVANCEMENT DE GRADE ET PROMOTION DE CORPS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5" name="Rectangle 44">
            <a:hlinkClick r:id="" action="ppaction://noaction"/>
          </p:cNvPr>
          <p:cNvSpPr/>
          <p:nvPr userDrawn="1"/>
        </p:nvSpPr>
        <p:spPr bwMode="auto">
          <a:xfrm>
            <a:off x="4948120" y="2250316"/>
            <a:ext cx="1980000" cy="2065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ANCIENNETE</a:t>
            </a:r>
          </a:p>
        </p:txBody>
      </p:sp>
      <p:sp>
        <p:nvSpPr>
          <p:cNvPr id="46" name="Rectangle 45">
            <a:hlinkClick r:id="" action="ppaction://noaction"/>
          </p:cNvPr>
          <p:cNvSpPr/>
          <p:nvPr userDrawn="1"/>
        </p:nvSpPr>
        <p:spPr bwMode="auto">
          <a:xfrm>
            <a:off x="4948120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ALUATION</a:t>
            </a:r>
          </a:p>
        </p:txBody>
      </p:sp>
      <p:sp>
        <p:nvSpPr>
          <p:cNvPr id="47" name="Rectangle 6"/>
          <p:cNvSpPr>
            <a:spLocks noChangeArrowheads="1"/>
          </p:cNvSpPr>
          <p:nvPr userDrawn="1"/>
        </p:nvSpPr>
        <p:spPr bwMode="auto">
          <a:xfrm>
            <a:off x="128464" y="4250451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Cessation / prolongation</a:t>
            </a:r>
            <a:r>
              <a:rPr lang="fr-FR" sz="1100" b="1" kern="0" baseline="0" dirty="0">
                <a:solidFill>
                  <a:schemeClr val="bg1"/>
                </a:solidFill>
                <a:latin typeface="+mn-lt"/>
                <a:cs typeface="ＭＳ Ｐゴシック"/>
              </a:rPr>
              <a:t> </a:t>
            </a: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d’activité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8" name="Rectangle 47">
            <a:hlinkClick r:id="rId6" action="ppaction://hlinksldjump"/>
          </p:cNvPr>
          <p:cNvSpPr/>
          <p:nvPr userDrawn="1"/>
        </p:nvSpPr>
        <p:spPr bwMode="auto">
          <a:xfrm>
            <a:off x="137625" y="46312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7" action="ppaction://hlinksldjump"/>
              </a:rPr>
              <a:t>CESSATION HORS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9" name="Rectangle 48">
            <a:hlinkClick r:id="rId7" action="ppaction://hlinksldjump"/>
          </p:cNvPr>
          <p:cNvSpPr/>
          <p:nvPr userDrawn="1"/>
        </p:nvSpPr>
        <p:spPr bwMode="auto">
          <a:xfrm>
            <a:off x="137625" y="48112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8" action="ppaction://hlinksldjump"/>
              </a:rPr>
              <a:t>DEPART A LA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Rectangle 6"/>
          <p:cNvSpPr>
            <a:spLocks noChangeArrowheads="1"/>
          </p:cNvSpPr>
          <p:nvPr userDrawn="1"/>
        </p:nvSpPr>
        <p:spPr bwMode="auto">
          <a:xfrm>
            <a:off x="7533269" y="5354461"/>
            <a:ext cx="1982273" cy="32525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Sanctions disciplinair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1" name="Rectangle 6"/>
          <p:cNvSpPr>
            <a:spLocks noChangeArrowheads="1"/>
          </p:cNvSpPr>
          <p:nvPr userDrawn="1"/>
        </p:nvSpPr>
        <p:spPr bwMode="auto">
          <a:xfrm>
            <a:off x="236476" y="5409220"/>
            <a:ext cx="1785937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acro-processu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236476" y="5769933"/>
            <a:ext cx="1785937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174625" indent="-174625" algn="ctr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</a:t>
            </a:r>
          </a:p>
        </p:txBody>
      </p:sp>
      <p:sp>
        <p:nvSpPr>
          <p:cNvPr id="53" name="TextBox 621"/>
          <p:cNvSpPr txBox="1"/>
          <p:nvPr userDrawn="1"/>
        </p:nvSpPr>
        <p:spPr>
          <a:xfrm>
            <a:off x="690544" y="5159442"/>
            <a:ext cx="84207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FFC000"/>
                </a:solidFill>
                <a:latin typeface="+mn-lt"/>
              </a:rPr>
              <a:t>LEGENDE</a:t>
            </a:r>
          </a:p>
        </p:txBody>
      </p:sp>
      <p:sp>
        <p:nvSpPr>
          <p:cNvPr id="55" name="Rectangle 54"/>
          <p:cNvSpPr/>
          <p:nvPr userDrawn="1"/>
        </p:nvSpPr>
        <p:spPr bwMode="auto">
          <a:xfrm>
            <a:off x="956556" y="6061406"/>
            <a:ext cx="485983" cy="3479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A étudier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236476" y="6061406"/>
            <a:ext cx="648000" cy="34794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Existence d’un acte</a:t>
            </a:r>
          </a:p>
        </p:txBody>
      </p:sp>
      <p:sp>
        <p:nvSpPr>
          <p:cNvPr id="57" name="Rectangle 6"/>
          <p:cNvSpPr>
            <a:spLocks noChangeArrowheads="1"/>
          </p:cNvSpPr>
          <p:nvPr userDrawn="1"/>
        </p:nvSpPr>
        <p:spPr bwMode="auto">
          <a:xfrm>
            <a:off x="7509504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Formation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8" name="Rectangle 57">
            <a:hlinkClick r:id="" action="ppaction://noaction"/>
          </p:cNvPr>
          <p:cNvSpPr/>
          <p:nvPr userDrawn="1"/>
        </p:nvSpPr>
        <p:spPr bwMode="auto">
          <a:xfrm>
            <a:off x="7509503" y="1717006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U CPF</a:t>
            </a:r>
          </a:p>
        </p:txBody>
      </p:sp>
      <p:sp>
        <p:nvSpPr>
          <p:cNvPr id="59" name="Rectangle 58">
            <a:hlinkClick r:id="" action="ppaction://noaction"/>
          </p:cNvPr>
          <p:cNvSpPr/>
          <p:nvPr userDrawn="1"/>
        </p:nvSpPr>
        <p:spPr bwMode="auto">
          <a:xfrm>
            <a:off x="7509503" y="1879482"/>
            <a:ext cx="1980000" cy="27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pour concours et examen</a:t>
            </a:r>
          </a:p>
        </p:txBody>
      </p:sp>
      <p:sp>
        <p:nvSpPr>
          <p:cNvPr id="60" name="Rectangle 59">
            <a:hlinkClick r:id="" action="ppaction://noaction"/>
          </p:cNvPr>
          <p:cNvSpPr/>
          <p:nvPr userDrawn="1"/>
        </p:nvSpPr>
        <p:spPr bwMode="auto">
          <a:xfrm>
            <a:off x="7509503" y="2131958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CONTINUE</a:t>
            </a:r>
          </a:p>
        </p:txBody>
      </p:sp>
      <p:sp>
        <p:nvSpPr>
          <p:cNvPr id="61" name="Rectangle 60">
            <a:hlinkClick r:id="" action="ppaction://noaction"/>
          </p:cNvPr>
          <p:cNvSpPr/>
          <p:nvPr userDrawn="1"/>
        </p:nvSpPr>
        <p:spPr bwMode="auto">
          <a:xfrm>
            <a:off x="7509503" y="2294434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STATUTAIRE</a:t>
            </a:r>
          </a:p>
        </p:txBody>
      </p:sp>
      <p:sp>
        <p:nvSpPr>
          <p:cNvPr id="62" name="Rectangle 61">
            <a:hlinkClick r:id="" action="ppaction://noaction"/>
          </p:cNvPr>
          <p:cNvSpPr/>
          <p:nvPr userDrawn="1"/>
        </p:nvSpPr>
        <p:spPr bwMode="auto">
          <a:xfrm>
            <a:off x="7509503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NTRETIENS, BILANS</a:t>
            </a:r>
          </a:p>
        </p:txBody>
      </p:sp>
      <p:sp>
        <p:nvSpPr>
          <p:cNvPr id="63" name="Rectangle 62">
            <a:hlinkClick r:id="" action="ppaction://noaction"/>
          </p:cNvPr>
          <p:cNvSpPr/>
          <p:nvPr userDrawn="1"/>
        </p:nvSpPr>
        <p:spPr bwMode="auto">
          <a:xfrm>
            <a:off x="7571226" y="6327332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ONNEES PERSO.</a:t>
            </a:r>
          </a:p>
        </p:txBody>
      </p:sp>
      <p:sp>
        <p:nvSpPr>
          <p:cNvPr id="64" name="Rectangle 6"/>
          <p:cNvSpPr>
            <a:spLocks noChangeArrowheads="1"/>
          </p:cNvSpPr>
          <p:nvPr userDrawn="1"/>
        </p:nvSpPr>
        <p:spPr bwMode="auto">
          <a:xfrm>
            <a:off x="4948120" y="2708920"/>
            <a:ext cx="4576033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Congés &amp; Absences</a:t>
            </a:r>
          </a:p>
        </p:txBody>
      </p:sp>
      <p:sp>
        <p:nvSpPr>
          <p:cNvPr id="65" name="Rectangle 64">
            <a:hlinkClick r:id="" action="ppaction://noaction"/>
          </p:cNvPr>
          <p:cNvSpPr/>
          <p:nvPr userDrawn="1"/>
        </p:nvSpPr>
        <p:spPr bwMode="auto">
          <a:xfrm>
            <a:off x="4948120" y="3140968"/>
            <a:ext cx="2182582" cy="16561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</a:t>
            </a:r>
          </a:p>
        </p:txBody>
      </p:sp>
      <p:sp>
        <p:nvSpPr>
          <p:cNvPr id="67" name="Rectangle 66">
            <a:hlinkClick r:id="" action="ppaction://noaction"/>
          </p:cNvPr>
          <p:cNvSpPr/>
          <p:nvPr userDrawn="1"/>
        </p:nvSpPr>
        <p:spPr bwMode="auto">
          <a:xfrm>
            <a:off x="4958361" y="3880794"/>
            <a:ext cx="2182582" cy="15474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BSENCE DE SERVICE FAIT</a:t>
            </a:r>
          </a:p>
        </p:txBody>
      </p:sp>
      <p:sp>
        <p:nvSpPr>
          <p:cNvPr id="68" name="Rectangle 67">
            <a:hlinkClick r:id="" action="ppaction://noaction"/>
          </p:cNvPr>
          <p:cNvSpPr/>
          <p:nvPr userDrawn="1"/>
        </p:nvSpPr>
        <p:spPr bwMode="auto">
          <a:xfrm>
            <a:off x="4948120" y="4044748"/>
            <a:ext cx="2182582" cy="1514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DECHARGE DE SERVICE</a:t>
            </a:r>
          </a:p>
        </p:txBody>
      </p:sp>
      <p:sp>
        <p:nvSpPr>
          <p:cNvPr id="69" name="Rectangle 68">
            <a:hlinkClick r:id="" action="ppaction://noaction"/>
          </p:cNvPr>
          <p:cNvSpPr/>
          <p:nvPr userDrawn="1"/>
        </p:nvSpPr>
        <p:spPr bwMode="auto">
          <a:xfrm>
            <a:off x="4954304" y="3479145"/>
            <a:ext cx="2182582" cy="2278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 ETRANGER</a:t>
            </a:r>
          </a:p>
        </p:txBody>
      </p:sp>
      <p:sp>
        <p:nvSpPr>
          <p:cNvPr id="70" name="Rectangle 69">
            <a:hlinkClick r:id="" action="ppaction://noaction"/>
          </p:cNvPr>
          <p:cNvSpPr/>
          <p:nvPr userDrawn="1"/>
        </p:nvSpPr>
        <p:spPr bwMode="auto">
          <a:xfrm>
            <a:off x="4948120" y="3686928"/>
            <a:ext cx="2182582" cy="18524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 BILAN DE COMPETENCES</a:t>
            </a:r>
          </a:p>
        </p:txBody>
      </p:sp>
      <p:sp>
        <p:nvSpPr>
          <p:cNvPr id="73" name="Rectangle 72">
            <a:hlinkClick r:id="" action="ppaction://noaction"/>
          </p:cNvPr>
          <p:cNvSpPr/>
          <p:nvPr userDrawn="1"/>
        </p:nvSpPr>
        <p:spPr bwMode="auto">
          <a:xfrm>
            <a:off x="4948120" y="3326337"/>
            <a:ext cx="2182582" cy="16659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CET</a:t>
            </a:r>
          </a:p>
        </p:txBody>
      </p:sp>
      <p:sp>
        <p:nvSpPr>
          <p:cNvPr id="74" name="Rectangle 73">
            <a:hlinkClick r:id="rId3" action="ppaction://hlinksldjump"/>
          </p:cNvPr>
          <p:cNvSpPr/>
          <p:nvPr userDrawn="1"/>
        </p:nvSpPr>
        <p:spPr bwMode="auto">
          <a:xfrm>
            <a:off x="7544153" y="3110486"/>
            <a:ext cx="1980000" cy="26836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9" action="ppaction://hlinksldjump"/>
              </a:rPr>
              <a:t>CONGE BONIFIE ET ADMINISTRATIF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5" name="Rectangle 74">
            <a:hlinkClick r:id="rId10" action="ppaction://hlinksldjump"/>
          </p:cNvPr>
          <p:cNvSpPr/>
          <p:nvPr userDrawn="1"/>
        </p:nvSpPr>
        <p:spPr bwMode="auto">
          <a:xfrm>
            <a:off x="7544153" y="3371462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FORMATION PRO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7" name="Rectangle 76">
            <a:hlinkClick r:id="rId5" action="ppaction://hlinksldjump"/>
          </p:cNvPr>
          <p:cNvSpPr/>
          <p:nvPr userDrawn="1"/>
        </p:nvSpPr>
        <p:spPr bwMode="auto">
          <a:xfrm>
            <a:off x="7545508" y="3704582"/>
            <a:ext cx="1980000" cy="20227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2" action="ppaction://hlinksldjump"/>
              </a:rPr>
              <a:t>CONGE MALADIE ORDIN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TextBox 239"/>
          <p:cNvSpPr txBox="1"/>
          <p:nvPr userDrawn="1"/>
        </p:nvSpPr>
        <p:spPr>
          <a:xfrm>
            <a:off x="4484948" y="5143072"/>
            <a:ext cx="297194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CESSUS HORS PARCOURS CLASSIQUE</a:t>
            </a:r>
          </a:p>
        </p:txBody>
      </p:sp>
      <p:sp>
        <p:nvSpPr>
          <p:cNvPr id="84" name="Rectangle 6"/>
          <p:cNvSpPr>
            <a:spLocks noChangeArrowheads="1"/>
          </p:cNvSpPr>
          <p:nvPr userDrawn="1"/>
        </p:nvSpPr>
        <p:spPr bwMode="auto">
          <a:xfrm>
            <a:off x="2831191" y="5403702"/>
            <a:ext cx="1980000" cy="552019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Activités, sujétions, éléments annexes de rémunération</a:t>
            </a:r>
          </a:p>
        </p:txBody>
      </p:sp>
      <p:sp>
        <p:nvSpPr>
          <p:cNvPr id="85" name="Rectangle 84">
            <a:hlinkClick r:id="rId12" action="ppaction://hlinksldjump"/>
          </p:cNvPr>
          <p:cNvSpPr/>
          <p:nvPr userDrawn="1"/>
        </p:nvSpPr>
        <p:spPr bwMode="auto">
          <a:xfrm>
            <a:off x="2831191" y="5954227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2831191" y="6213822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4" action="ppaction://hlinksldjump"/>
              </a:rPr>
              <a:t>ELEMENTS ANNEXES DE 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7" name="Rectangle 6"/>
          <p:cNvSpPr>
            <a:spLocks noChangeArrowheads="1"/>
          </p:cNvSpPr>
          <p:nvPr userDrawn="1"/>
        </p:nvSpPr>
        <p:spPr bwMode="auto">
          <a:xfrm>
            <a:off x="2614474" y="3897447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Modalités de service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8" name="Rectangle 87">
            <a:hlinkClick r:id="rId15" action="ppaction://hlinksldjump"/>
          </p:cNvPr>
          <p:cNvSpPr/>
          <p:nvPr userDrawn="1"/>
        </p:nvSpPr>
        <p:spPr bwMode="auto">
          <a:xfrm>
            <a:off x="2628110" y="429158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6" action="ppaction://hlinksldjump"/>
              </a:rPr>
              <a:t>TEMPS PARTI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6"/>
          <p:cNvSpPr>
            <a:spLocks noChangeArrowheads="1"/>
          </p:cNvSpPr>
          <p:nvPr userDrawn="1"/>
        </p:nvSpPr>
        <p:spPr bwMode="auto">
          <a:xfrm>
            <a:off x="5150702" y="597976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dification du décret portant statut d’un corp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1" name="Rectangle 90">
            <a:hlinkClick r:id="" action="ppaction://noaction"/>
          </p:cNvPr>
          <p:cNvSpPr/>
          <p:nvPr userDrawn="1"/>
        </p:nvSpPr>
        <p:spPr bwMode="auto">
          <a:xfrm>
            <a:off x="5150702" y="635908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5" action="ppaction://hlinksldjump"/>
              </a:rPr>
              <a:t>RECLASS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2" name="Rectangle 6"/>
          <p:cNvSpPr>
            <a:spLocks noChangeArrowheads="1"/>
          </p:cNvSpPr>
          <p:nvPr userDrawn="1"/>
        </p:nvSpPr>
        <p:spPr bwMode="auto">
          <a:xfrm>
            <a:off x="2629539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bilité &amp; Position statutaire</a:t>
            </a:r>
            <a:endParaRPr lang="fr-FR" sz="105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3" name="Rectangle 92">
            <a:hlinkClick r:id="rId17" action="ppaction://hlinksldjump"/>
          </p:cNvPr>
          <p:cNvSpPr/>
          <p:nvPr userDrawn="1"/>
        </p:nvSpPr>
        <p:spPr bwMode="auto">
          <a:xfrm>
            <a:off x="2629539" y="1714853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7" action="ppaction://hlinksldjump"/>
              </a:rPr>
              <a:t>CHANGEMENT D’AFFECTATION &amp; MUT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4" name="Rectangle 93">
            <a:hlinkClick r:id="rId18" action="ppaction://hlinksldjump"/>
          </p:cNvPr>
          <p:cNvSpPr/>
          <p:nvPr userDrawn="1"/>
        </p:nvSpPr>
        <p:spPr bwMode="auto">
          <a:xfrm>
            <a:off x="2629539" y="197267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POSITION NORMALE ACTIV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5" name="Rectangle 94">
            <a:hlinkClick r:id="rId12" action="ppaction://hlinksldjump"/>
          </p:cNvPr>
          <p:cNvSpPr/>
          <p:nvPr userDrawn="1"/>
        </p:nvSpPr>
        <p:spPr bwMode="auto">
          <a:xfrm>
            <a:off x="2629539" y="2140489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DETACH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7" name="Rectangle 96">
            <a:hlinkClick r:id="rId20" action="ppaction://hlinksldjump"/>
          </p:cNvPr>
          <p:cNvSpPr/>
          <p:nvPr userDrawn="1"/>
        </p:nvSpPr>
        <p:spPr bwMode="auto">
          <a:xfrm>
            <a:off x="2629539" y="2489309"/>
            <a:ext cx="1980000" cy="21961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MISE A DISPOSI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Rectangle 97">
            <a:hlinkClick r:id="rId21" action="ppaction://hlinksldjump"/>
          </p:cNvPr>
          <p:cNvSpPr/>
          <p:nvPr userDrawn="1"/>
        </p:nvSpPr>
        <p:spPr bwMode="auto">
          <a:xfrm>
            <a:off x="2633927" y="27089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2" action="ppaction://hlinksldjump"/>
              </a:rPr>
              <a:t>CONGE PARENTA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Rectangle 99">
            <a:hlinkClick r:id="" action="ppaction://noaction"/>
          </p:cNvPr>
          <p:cNvSpPr/>
          <p:nvPr userDrawn="1"/>
        </p:nvSpPr>
        <p:spPr bwMode="auto">
          <a:xfrm>
            <a:off x="2629539" y="288896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2" action="ppaction://hlinksldjump"/>
              </a:rPr>
              <a:t>CONGES SANS TRAIT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1" name="Rectangle 100">
            <a:hlinkClick r:id="" action="ppaction://noaction"/>
          </p:cNvPr>
          <p:cNvSpPr/>
          <p:nvPr userDrawn="1"/>
        </p:nvSpPr>
        <p:spPr bwMode="auto">
          <a:xfrm>
            <a:off x="2629539" y="3068980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ERVICE NATIONAL</a:t>
            </a:r>
          </a:p>
        </p:txBody>
      </p:sp>
      <p:sp>
        <p:nvSpPr>
          <p:cNvPr id="103" name="Rectangle 102">
            <a:hlinkClick r:id="" action="ppaction://noaction"/>
          </p:cNvPr>
          <p:cNvSpPr/>
          <p:nvPr userDrawn="1"/>
        </p:nvSpPr>
        <p:spPr bwMode="auto">
          <a:xfrm>
            <a:off x="2637210" y="3249000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ITUATION ADMIN. A L’ETRANGER</a:t>
            </a:r>
          </a:p>
        </p:txBody>
      </p:sp>
      <p:sp>
        <p:nvSpPr>
          <p:cNvPr id="105" name="Rectangle 104">
            <a:hlinkClick r:id="" action="ppaction://noaction"/>
          </p:cNvPr>
          <p:cNvSpPr/>
          <p:nvPr userDrawn="1"/>
        </p:nvSpPr>
        <p:spPr bwMode="auto">
          <a:xfrm>
            <a:off x="7534405" y="5671479"/>
            <a:ext cx="1980000" cy="22704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3" action="ppaction://hlinksldjump"/>
              </a:rPr>
              <a:t>EXCLUSION TEMPOR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6" name="Rectangle 6"/>
          <p:cNvSpPr>
            <a:spLocks noChangeArrowheads="1"/>
          </p:cNvSpPr>
          <p:nvPr userDrawn="1"/>
        </p:nvSpPr>
        <p:spPr bwMode="auto">
          <a:xfrm>
            <a:off x="164387" y="1179219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Entrée initiale dans la FPE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164387" y="154320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RECRUTEMENT</a:t>
            </a:r>
          </a:p>
        </p:txBody>
      </p:sp>
      <p:sp>
        <p:nvSpPr>
          <p:cNvPr id="108" name="Rectangle 107"/>
          <p:cNvSpPr/>
          <p:nvPr userDrawn="1"/>
        </p:nvSpPr>
        <p:spPr bwMode="auto">
          <a:xfrm>
            <a:off x="164387" y="1753434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 &amp; AFFECTATION SUITE A UN CONCOURS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164387" y="2014934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 ET AFFECT. SANS CONCOURS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164387" y="2276434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S PACTE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164387" y="2447934"/>
            <a:ext cx="1980000" cy="235199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NOMINATION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164387" y="3390286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TITULARISATION</a:t>
            </a:r>
          </a:p>
        </p:txBody>
      </p:sp>
      <p:sp>
        <p:nvSpPr>
          <p:cNvPr id="114" name="Rectangle 113">
            <a:hlinkClick r:id="rId11" action="ppaction://hlinksldjump"/>
          </p:cNvPr>
          <p:cNvSpPr/>
          <p:nvPr userDrawn="1"/>
        </p:nvSpPr>
        <p:spPr bwMode="auto">
          <a:xfrm>
            <a:off x="162915" y="36090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4" action="ppaction://hlinksldjump"/>
              </a:rPr>
              <a:t>TITULARIS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61538" y="378633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6" name="Rectangle 115">
            <a:hlinkClick r:id="" action="ppaction://noaction"/>
          </p:cNvPr>
          <p:cNvSpPr/>
          <p:nvPr userDrawn="1"/>
        </p:nvSpPr>
        <p:spPr bwMode="auto">
          <a:xfrm>
            <a:off x="164688" y="400508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  <a:hlinkClick r:id="rId15" action="ppaction://hlinksldjump"/>
              </a:rPr>
              <a:t>CLASSEMENT</a:t>
            </a:r>
            <a:endParaRPr lang="fr-FR" sz="900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7" name="Rectangle 6"/>
          <p:cNvSpPr>
            <a:spLocks noChangeArrowheads="1"/>
          </p:cNvSpPr>
          <p:nvPr userDrawn="1"/>
        </p:nvSpPr>
        <p:spPr bwMode="auto">
          <a:xfrm>
            <a:off x="5150702" y="538312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Distinctions honorifiqu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5150702" y="5750731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LEGION D’HONNEUR, etc.</a:t>
            </a:r>
          </a:p>
        </p:txBody>
      </p:sp>
      <p:sp>
        <p:nvSpPr>
          <p:cNvPr id="119" name="Rectangle 118"/>
          <p:cNvSpPr/>
          <p:nvPr userDrawn="1"/>
        </p:nvSpPr>
        <p:spPr bwMode="auto">
          <a:xfrm>
            <a:off x="1554854" y="6069392"/>
            <a:ext cx="485983" cy="347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sp>
        <p:nvSpPr>
          <p:cNvPr id="120" name="Espace réservé du numéro de diapositive 2"/>
          <p:cNvSpPr txBox="1">
            <a:spLocks/>
          </p:cNvSpPr>
          <p:nvPr userDrawn="1"/>
        </p:nvSpPr>
        <p:spPr bwMode="gray">
          <a:xfrm>
            <a:off x="9317448" y="6554343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22" name="Rectangle 121">
            <a:hlinkClick r:id="" action="ppaction://noaction"/>
          </p:cNvPr>
          <p:cNvSpPr/>
          <p:nvPr userDrawn="1"/>
        </p:nvSpPr>
        <p:spPr bwMode="auto">
          <a:xfrm>
            <a:off x="7535294" y="590922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5" action="ppaction://hlinksldjump"/>
              </a:rPr>
              <a:t>SUSPENS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1" name="Rectangle 120">
            <a:hlinkClick r:id="rId11" action="ppaction://hlinksldjump"/>
          </p:cNvPr>
          <p:cNvSpPr/>
          <p:nvPr userDrawn="1"/>
        </p:nvSpPr>
        <p:spPr bwMode="auto">
          <a:xfrm>
            <a:off x="7542130" y="4513195"/>
            <a:ext cx="1980000" cy="57483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CONGE PROCHE AIDANT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 / PRESENCE PARENTALE / 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SOLIDARITE FAMILI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0" name="Rectangle 79">
            <a:hlinkClick r:id="rId26" action="ppaction://hlinksldjump"/>
          </p:cNvPr>
          <p:cNvSpPr/>
          <p:nvPr userDrawn="1"/>
        </p:nvSpPr>
        <p:spPr bwMode="auto">
          <a:xfrm>
            <a:off x="7555722" y="3912522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7" action="ppaction://hlinksldjump"/>
              </a:rPr>
              <a:t>CONGE LONGUE MALADIE (CLM)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4" name="Rectangle 103">
            <a:hlinkClick r:id="rId28" action="ppaction://hlinksldjump"/>
          </p:cNvPr>
          <p:cNvSpPr/>
          <p:nvPr userDrawn="1"/>
        </p:nvSpPr>
        <p:spPr bwMode="auto">
          <a:xfrm>
            <a:off x="4952918" y="4196199"/>
            <a:ext cx="2188025" cy="252028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8" action="ppaction://hlinksldjump"/>
              </a:rPr>
              <a:t>CONGES REPRESENTANTS DU PERSONN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2" name="ZoneTexte 1"/>
          <p:cNvSpPr txBox="1"/>
          <p:nvPr userDrawn="1"/>
        </p:nvSpPr>
        <p:spPr>
          <a:xfrm>
            <a:off x="9452145" y="3916603"/>
            <a:ext cx="72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000" b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123" name="Rectangle 122">
            <a:hlinkClick r:id="rId29" action="ppaction://hlinksldjump"/>
          </p:cNvPr>
          <p:cNvSpPr/>
          <p:nvPr userDrawn="1"/>
        </p:nvSpPr>
        <p:spPr bwMode="auto">
          <a:xfrm>
            <a:off x="2628110" y="4478719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16" action="ppaction://hlinksldjump"/>
              </a:rPr>
              <a:t>TELETRAVAIL</a:t>
            </a:r>
            <a:endParaRPr lang="fr-FR" kern="0" dirty="0">
              <a:solidFill>
                <a:srgbClr val="00B050"/>
              </a:solidFill>
              <a:latin typeface="+mn-lt"/>
              <a:cs typeface="ＭＳ Ｐゴシック"/>
            </a:endParaRPr>
          </a:p>
        </p:txBody>
      </p:sp>
      <p:sp>
        <p:nvSpPr>
          <p:cNvPr id="124" name="Rectangle 123">
            <a:hlinkClick r:id="rId30" action="ppaction://hlinksldjump"/>
          </p:cNvPr>
          <p:cNvSpPr/>
          <p:nvPr userDrawn="1"/>
        </p:nvSpPr>
        <p:spPr bwMode="auto">
          <a:xfrm>
            <a:off x="7544496" y="4303270"/>
            <a:ext cx="1980000" cy="20628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0" action="ppaction://hlinksldjump"/>
              </a:rPr>
              <a:t>CITIS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9" name="Rectangle 88">
            <a:hlinkClick r:id="rId26" action="ppaction://hlinksldjump"/>
          </p:cNvPr>
          <p:cNvSpPr/>
          <p:nvPr userDrawn="1"/>
        </p:nvSpPr>
        <p:spPr bwMode="auto">
          <a:xfrm>
            <a:off x="7544153" y="412327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CONG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 LONGUE DURE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 (CLD)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9" name="Rectangle 98">
            <a:hlinkClick r:id="rId11" action="ppaction://hlinksldjump"/>
          </p:cNvPr>
          <p:cNvSpPr/>
          <p:nvPr userDrawn="1"/>
        </p:nvSpPr>
        <p:spPr bwMode="auto">
          <a:xfrm>
            <a:off x="164387" y="2991974"/>
            <a:ext cx="1980000" cy="40670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PRIS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 EN CHARGE EN DETACHEMENT OU PNA / INTEGRATION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 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5" name="Rectangle 124">
            <a:hlinkClick r:id="rId11" action="ppaction://hlinksldjump"/>
          </p:cNvPr>
          <p:cNvSpPr/>
          <p:nvPr userDrawn="1"/>
        </p:nvSpPr>
        <p:spPr bwMode="auto">
          <a:xfrm>
            <a:off x="164387" y="2678705"/>
            <a:ext cx="1980000" cy="29817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3" action="ppaction://hlinksldjump"/>
              </a:rPr>
              <a:t>NOMINATION AN QUALITE DE STAGIAIR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3" action="ppaction://hlinksldjump"/>
              </a:rPr>
              <a:t> 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2" name="Rectangle 111">
            <a:hlinkClick r:id="rId7" action="ppaction://hlinksldjump"/>
          </p:cNvPr>
          <p:cNvSpPr/>
          <p:nvPr userDrawn="1"/>
        </p:nvSpPr>
        <p:spPr bwMode="auto">
          <a:xfrm>
            <a:off x="137625" y="499609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4" action="ppaction://hlinksldjump"/>
              </a:rPr>
              <a:t>PROLONGATION D’ACTIV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6" name="Rectangle 125">
            <a:hlinkClick r:id="rId19" action="ppaction://hlinksldjump"/>
          </p:cNvPr>
          <p:cNvSpPr/>
          <p:nvPr userDrawn="1"/>
        </p:nvSpPr>
        <p:spPr bwMode="auto">
          <a:xfrm>
            <a:off x="4958361" y="4448452"/>
            <a:ext cx="2182582" cy="200506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CONGES LIES A LA PARENTA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2" name="Rectangle 101">
            <a:hlinkClick r:id="rId10" action="ppaction://hlinksldjump"/>
          </p:cNvPr>
          <p:cNvSpPr/>
          <p:nvPr userDrawn="1"/>
        </p:nvSpPr>
        <p:spPr bwMode="auto">
          <a:xfrm>
            <a:off x="7535294" y="3541823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TRANSITION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 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PRO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7" name="Rectangle 126">
            <a:hlinkClick r:id="rId20" action="ppaction://hlinksldjump"/>
          </p:cNvPr>
          <p:cNvSpPr/>
          <p:nvPr userDrawn="1"/>
        </p:nvSpPr>
        <p:spPr bwMode="auto">
          <a:xfrm>
            <a:off x="2629539" y="2320772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DISPONIBI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6" name="Rectangle 95">
            <a:hlinkClick r:id="rId19" action="ppaction://hlinksldjump"/>
          </p:cNvPr>
          <p:cNvSpPr/>
          <p:nvPr userDrawn="1"/>
        </p:nvSpPr>
        <p:spPr bwMode="auto">
          <a:xfrm>
            <a:off x="4968726" y="4649965"/>
            <a:ext cx="2182582" cy="28145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REPRISE ANTICIPE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 SUITE A CONGE/ABSENC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8" name="Rectangle 127">
            <a:hlinkClick r:id="rId2" action="ppaction://hlinksldjump"/>
          </p:cNvPr>
          <p:cNvSpPr/>
          <p:nvPr userDrawn="1"/>
        </p:nvSpPr>
        <p:spPr bwMode="auto">
          <a:xfrm>
            <a:off x="4953000" y="16288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PROLONGATION STAG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052799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solidarité famili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</a:t>
            </a:r>
            <a:r>
              <a:rPr lang="fr-FR" sz="1800" kern="0" baseline="0" dirty="0"/>
              <a:t> congés de solidarité familiale et du </a:t>
            </a:r>
          </a:p>
          <a:p>
            <a:pPr eaLnBrk="1" hangingPunct="1"/>
            <a:r>
              <a:rPr lang="fr-FR" sz="1800" kern="0" baseline="0" dirty="0"/>
              <a:t>proche aid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48986" y="234888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8153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2980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11424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77493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17396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82" idx="1"/>
          </p:cNvCxnSpPr>
          <p:nvPr userDrawn="1"/>
        </p:nvCxnSpPr>
        <p:spPr bwMode="auto">
          <a:xfrm flipV="1">
            <a:off x="2688986" y="2155193"/>
            <a:ext cx="571937" cy="55368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260923" y="1795193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1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TextBox 54"/>
          <p:cNvSpPr txBox="1"/>
          <p:nvPr userDrawn="1"/>
        </p:nvSpPr>
        <p:spPr>
          <a:xfrm>
            <a:off x="6541574" y="342441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80" name="Rectangle 79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5" name="Image 4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9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3" name="Groupe 8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6" name="Rectangle 85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7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" name="ZoneTexte 88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8699945" y="1628848"/>
            <a:ext cx="793957" cy="358353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1244588" y="411307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och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aidant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3224808" y="3753036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och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idant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07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5" name="Connecteur droit 54"/>
          <p:cNvCxnSpPr/>
          <p:nvPr userDrawn="1"/>
        </p:nvCxnSpPr>
        <p:spPr bwMode="auto">
          <a:xfrm>
            <a:off x="2667363" y="4485719"/>
            <a:ext cx="557445" cy="4554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Connecteur droit 57"/>
          <p:cNvCxnSpPr>
            <a:endCxn id="47" idx="1"/>
          </p:cNvCxnSpPr>
          <p:nvPr userDrawn="1"/>
        </p:nvCxnSpPr>
        <p:spPr bwMode="auto">
          <a:xfrm flipV="1">
            <a:off x="2667363" y="4113036"/>
            <a:ext cx="557445" cy="37268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>
            <a:off x="7326865" y="1792759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23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3224808" y="4545204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och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idant (S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36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7329264" y="3717032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60</a:t>
            </a: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7329264" y="4545203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37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3254256" y="2672553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4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7319629" y="2658615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5</a:t>
            </a: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860" y="2081298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185" y="2061862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820" y="3961594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8425" y="3961768"/>
            <a:ext cx="318039" cy="336260"/>
          </a:xfrm>
          <a:prstGeom prst="rect">
            <a:avLst/>
          </a:prstGeom>
        </p:spPr>
      </p:pic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5188" y="4784928"/>
            <a:ext cx="318039" cy="336260"/>
          </a:xfrm>
          <a:prstGeom prst="rect">
            <a:avLst/>
          </a:prstGeom>
        </p:spPr>
      </p:pic>
      <p:pic>
        <p:nvPicPr>
          <p:cNvPr id="92" name="Image 9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4797152"/>
            <a:ext cx="318039" cy="336260"/>
          </a:xfrm>
          <a:prstGeom prst="rect">
            <a:avLst/>
          </a:prstGeom>
        </p:spPr>
      </p:pic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45188" y="293214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54981" y="296094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55961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résence parent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149244" y="1808820"/>
            <a:ext cx="1465447" cy="119808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1 (T)</a:t>
            </a:r>
          </a:p>
          <a:p>
            <a:pPr algn="ctr"/>
            <a:r>
              <a:rPr lang="fr-FR" sz="80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ATION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18 (T)</a:t>
            </a:r>
          </a:p>
          <a:p>
            <a:pPr algn="ctr"/>
            <a:r>
              <a:rPr lang="fr-FR" sz="80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NOUVELLEMENT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présence parent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40693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ésence parent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60913" y="1988840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2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348840"/>
            <a:ext cx="748333" cy="141809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04031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1469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631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49244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625408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3391698" y="4775347"/>
            <a:ext cx="2880000" cy="4840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présence parentale fractionné</a:t>
            </a:r>
          </a:p>
        </p:txBody>
      </p:sp>
      <p:cxnSp>
        <p:nvCxnSpPr>
          <p:cNvPr id="6" name="Connecteur droit 5"/>
          <p:cNvCxnSpPr>
            <a:cxnSpLocks/>
            <a:stCxn id="72" idx="3"/>
            <a:endCxn id="79" idx="1"/>
          </p:cNvCxnSpPr>
          <p:nvPr userDrawn="1"/>
        </p:nvCxnSpPr>
        <p:spPr bwMode="auto">
          <a:xfrm>
            <a:off x="2612580" y="3766935"/>
            <a:ext cx="779118" cy="12504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8" name="Image 4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4" name="Groupe 43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7" name="Groupe 66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715742" y="1771948"/>
            <a:ext cx="873621" cy="34932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3385660" y="341111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(S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3 (initial)</a:t>
            </a:r>
          </a:p>
        </p:txBody>
      </p:sp>
      <p:sp>
        <p:nvSpPr>
          <p:cNvPr id="60" name="Rectangle 59"/>
          <p:cNvSpPr/>
          <p:nvPr userDrawn="1"/>
        </p:nvSpPr>
        <p:spPr bwMode="auto">
          <a:xfrm>
            <a:off x="7149244" y="3285401"/>
            <a:ext cx="1465447" cy="117942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2 (S)</a:t>
            </a:r>
          </a:p>
          <a:p>
            <a:pPr algn="ctr"/>
            <a:r>
              <a:rPr lang="fr-FR" sz="80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ATION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19 (S)</a:t>
            </a:r>
          </a:p>
          <a:p>
            <a:pPr algn="ctr"/>
            <a:r>
              <a:rPr lang="fr-FR" sz="80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NOUVELLEMENT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cxnSp>
        <p:nvCxnSpPr>
          <p:cNvPr id="55" name="Straight Connector 34"/>
          <p:cNvCxnSpPr>
            <a:stCxn id="72" idx="3"/>
            <a:endCxn id="52" idx="1"/>
          </p:cNvCxnSpPr>
          <p:nvPr userDrawn="1"/>
        </p:nvCxnSpPr>
        <p:spPr bwMode="auto">
          <a:xfrm>
            <a:off x="2612580" y="3766935"/>
            <a:ext cx="773080" cy="418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>
            <a:off x="6509503" y="4793326"/>
            <a:ext cx="1811502" cy="48404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934" y="3630279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5962" y="2317852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131" y="2144158"/>
            <a:ext cx="227682" cy="240726"/>
          </a:xfrm>
          <a:prstGeom prst="rect">
            <a:avLst/>
          </a:prstGeom>
        </p:spPr>
      </p:pic>
      <p:pic>
        <p:nvPicPr>
          <p:cNvPr id="62" name="Image 61">
            <a:extLst>
              <a:ext uri="{FF2B5EF4-FFF2-40B4-BE49-F238E27FC236}">
                <a16:creationId xmlns:a16="http://schemas.microsoft.com/office/drawing/2014/main" id="{E8F4A3AA-1835-44DF-9AB9-580900999CF6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471" y="2727145"/>
            <a:ext cx="248979" cy="248979"/>
          </a:xfrm>
          <a:prstGeom prst="rect">
            <a:avLst/>
          </a:prstGeom>
        </p:spPr>
      </p:pic>
      <p:pic>
        <p:nvPicPr>
          <p:cNvPr id="63" name="Image 62">
            <a:extLst>
              <a:ext uri="{FF2B5EF4-FFF2-40B4-BE49-F238E27FC236}">
                <a16:creationId xmlns:a16="http://schemas.microsoft.com/office/drawing/2014/main" id="{6B7727B7-3525-486A-8ADD-97F242E04A4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131" y="3624459"/>
            <a:ext cx="227682" cy="240726"/>
          </a:xfrm>
          <a:prstGeom prst="rect">
            <a:avLst/>
          </a:prstGeom>
        </p:spPr>
      </p:pic>
      <p:pic>
        <p:nvPicPr>
          <p:cNvPr id="64" name="Image 63">
            <a:extLst>
              <a:ext uri="{FF2B5EF4-FFF2-40B4-BE49-F238E27FC236}">
                <a16:creationId xmlns:a16="http://schemas.microsoft.com/office/drawing/2014/main" id="{138D2B6C-486D-4C3F-B862-CCD2CC861377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471" y="4218094"/>
            <a:ext cx="248979" cy="248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26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Gestion du congé bonifié et administrat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bonifié et</a:t>
            </a:r>
            <a:r>
              <a:rPr lang="fr-FR" sz="1800" kern="0" baseline="0" dirty="0"/>
              <a:t> administratif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2715068" y="2272428"/>
            <a:ext cx="26642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bonifié (T)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1</a:t>
            </a:r>
          </a:p>
        </p:txBody>
      </p:sp>
      <p:sp>
        <p:nvSpPr>
          <p:cNvPr id="54" name="TextBox 29"/>
          <p:cNvSpPr txBox="1"/>
          <p:nvPr userDrawn="1"/>
        </p:nvSpPr>
        <p:spPr>
          <a:xfrm>
            <a:off x="6109526" y="116074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55" name="TextBox 65"/>
          <p:cNvSpPr txBox="1"/>
          <p:nvPr userDrawn="1"/>
        </p:nvSpPr>
        <p:spPr>
          <a:xfrm>
            <a:off x="8521794" y="116074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68" name="TextBox 69"/>
          <p:cNvSpPr txBox="1"/>
          <p:nvPr userDrawn="1"/>
        </p:nvSpPr>
        <p:spPr>
          <a:xfrm>
            <a:off x="7203412" y="1237693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8699945" y="1722440"/>
            <a:ext cx="793957" cy="314536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0" name="Rectangle 69"/>
          <p:cNvSpPr/>
          <p:nvPr userDrawn="1"/>
        </p:nvSpPr>
        <p:spPr bwMode="auto">
          <a:xfrm>
            <a:off x="7396145" y="1722394"/>
            <a:ext cx="793957" cy="31454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81" name="Straight Connector 66"/>
          <p:cNvCxnSpPr/>
          <p:nvPr userDrawn="1"/>
        </p:nvCxnSpPr>
        <p:spPr bwMode="auto">
          <a:xfrm>
            <a:off x="7169481" y="1722797"/>
            <a:ext cx="0" cy="314492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68"/>
          <p:cNvCxnSpPr/>
          <p:nvPr userDrawn="1"/>
        </p:nvCxnSpPr>
        <p:spPr bwMode="auto">
          <a:xfrm>
            <a:off x="8425475" y="1716990"/>
            <a:ext cx="16602" cy="315217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2715068" y="3829154"/>
            <a:ext cx="26642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administratif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9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 rot="16200000">
            <a:off x="-1054939" y="2928312"/>
            <a:ext cx="315881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4" name="Groupe 43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2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3" name="Groupe 5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3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90985" y="404106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67" y="244466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018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pro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 bwMode="auto">
          <a:xfrm>
            <a:off x="7368937" y="2322744"/>
            <a:ext cx="116080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12</a:t>
            </a: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e</a:t>
            </a:r>
            <a:r>
              <a:rPr lang="fr-FR" sz="1800" kern="0" baseline="0" dirty="0"/>
              <a:t> formation professionnelle (1/2)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43542" y="299695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66585" y="2996952"/>
            <a:ext cx="16232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rémunéré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483542" y="3356952"/>
            <a:ext cx="283043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325549" y="1016732"/>
            <a:ext cx="10593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65810" y="101673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47428" y="109367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13497" y="1430735"/>
            <a:ext cx="29845" cy="37816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569491" y="1424928"/>
            <a:ext cx="0" cy="384027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4585128" y="3537091"/>
            <a:ext cx="1806482" cy="88269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fractionné rémunéré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4585128" y="2321407"/>
            <a:ext cx="1806483" cy="85135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0</a:t>
            </a:r>
          </a:p>
        </p:txBody>
      </p:sp>
      <p:cxnSp>
        <p:nvCxnSpPr>
          <p:cNvPr id="3" name="Connecteur droit 2"/>
          <p:cNvCxnSpPr>
            <a:stCxn id="74" idx="3"/>
            <a:endCxn id="84" idx="1"/>
          </p:cNvCxnSpPr>
          <p:nvPr userDrawn="1"/>
        </p:nvCxnSpPr>
        <p:spPr bwMode="auto">
          <a:xfrm flipV="1">
            <a:off x="4389791" y="2747085"/>
            <a:ext cx="195337" cy="6098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Connecteur droit 5"/>
          <p:cNvCxnSpPr>
            <a:stCxn id="74" idx="3"/>
            <a:endCxn id="79" idx="1"/>
          </p:cNvCxnSpPr>
          <p:nvPr userDrawn="1"/>
        </p:nvCxnSpPr>
        <p:spPr bwMode="auto">
          <a:xfrm>
            <a:off x="4389791" y="3356952"/>
            <a:ext cx="195337" cy="62148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89033" y="3355060"/>
            <a:ext cx="40577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pic>
        <p:nvPicPr>
          <p:cNvPr id="8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146382" y="3906120"/>
            <a:ext cx="201612" cy="13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9" name="Groupe 5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1" name="Groupe 8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ZoneTexte 9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1" name="Image 10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715" y="2595871"/>
            <a:ext cx="318039" cy="336260"/>
          </a:xfrm>
          <a:prstGeom prst="rect">
            <a:avLst/>
          </a:prstGeom>
        </p:spPr>
      </p:pic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321" y="2595871"/>
            <a:ext cx="318039" cy="336260"/>
          </a:xfrm>
          <a:prstGeom prst="rect">
            <a:avLst/>
          </a:prstGeom>
        </p:spPr>
      </p:pic>
      <p:pic>
        <p:nvPicPr>
          <p:cNvPr id="51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134900" y="2697585"/>
            <a:ext cx="201612" cy="13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ectangle 45"/>
          <p:cNvSpPr/>
          <p:nvPr userDrawn="1"/>
        </p:nvSpPr>
        <p:spPr bwMode="auto">
          <a:xfrm>
            <a:off x="6431358" y="3499473"/>
            <a:ext cx="2098385" cy="92031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914228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forpro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e</a:t>
            </a:r>
            <a:r>
              <a:rPr lang="fr-FR" sz="1800" kern="0" baseline="0" dirty="0"/>
              <a:t> formation professionnelle (2/2)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43542" y="29249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2794132" y="2924944"/>
            <a:ext cx="16232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non rémunéré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>
            <a:off x="2483542" y="3284944"/>
            <a:ext cx="31059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325549" y="1016732"/>
            <a:ext cx="10593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65810" y="101673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47428" y="109367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13497" y="1430735"/>
            <a:ext cx="1" cy="38184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569491" y="1424928"/>
            <a:ext cx="0" cy="384027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4635767" y="3429080"/>
            <a:ext cx="180648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fractionné non rémunéré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4628213" y="2388065"/>
            <a:ext cx="18140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non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25</a:t>
            </a:r>
          </a:p>
        </p:txBody>
      </p:sp>
      <p:cxnSp>
        <p:nvCxnSpPr>
          <p:cNvPr id="8" name="Connecteur droit 7"/>
          <p:cNvCxnSpPr>
            <a:stCxn id="102" idx="3"/>
            <a:endCxn id="93" idx="1"/>
          </p:cNvCxnSpPr>
          <p:nvPr userDrawn="1"/>
        </p:nvCxnSpPr>
        <p:spPr bwMode="auto">
          <a:xfrm flipV="1">
            <a:off x="4417338" y="2748065"/>
            <a:ext cx="210875" cy="5368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cteur droit 12"/>
          <p:cNvCxnSpPr>
            <a:stCxn id="102" idx="3"/>
            <a:endCxn id="92" idx="1"/>
          </p:cNvCxnSpPr>
          <p:nvPr userDrawn="1"/>
        </p:nvCxnSpPr>
        <p:spPr bwMode="auto">
          <a:xfrm>
            <a:off x="4417338" y="3284944"/>
            <a:ext cx="218429" cy="50413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89033" y="3355060"/>
            <a:ext cx="40577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9" name="Groupe 5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1" name="Groupe 8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ZoneTexte 9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1" name="Image 10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7" y="2548104"/>
            <a:ext cx="318039" cy="336260"/>
          </a:xfrm>
          <a:prstGeom prst="rect">
            <a:avLst/>
          </a:prstGeom>
        </p:spPr>
      </p:pic>
      <p:pic>
        <p:nvPicPr>
          <p:cNvPr id="47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33320" y="263691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119979" y="2627147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3" descr="D:\SkyDrive\Pro\Divers\Couteau suisse\PNG\Flèches &amp; signes\button_cancel.png">
            <a:extLst>
              <a:ext uri="{FF2B5EF4-FFF2-40B4-BE49-F238E27FC236}">
                <a16:creationId xmlns:a16="http://schemas.microsoft.com/office/drawing/2014/main" id="{235C9826-287F-4D58-9099-3081000DF3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33320" y="3753036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3" descr="D:\SkyDrive\Pro\Divers\Couteau suisse\PNG\Flèches &amp; signes\button_cancel.png">
            <a:extLst>
              <a:ext uri="{FF2B5EF4-FFF2-40B4-BE49-F238E27FC236}">
                <a16:creationId xmlns:a16="http://schemas.microsoft.com/office/drawing/2014/main" id="{BA7A7243-5C01-4E4A-96C6-0C82256A96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104051" y="3736231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3" descr="D:\SkyDrive\Pro\Divers\Couteau suisse\PNG\Flèches &amp; signes\button_cancel.png">
            <a:extLst>
              <a:ext uri="{FF2B5EF4-FFF2-40B4-BE49-F238E27FC236}">
                <a16:creationId xmlns:a16="http://schemas.microsoft.com/office/drawing/2014/main" id="{7EC1D8CB-69C3-4874-AE5D-0623D79EE0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838810" y="3760849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01627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mation synd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</a:t>
            </a:r>
            <a:r>
              <a:rPr lang="fr-FR" sz="1800" kern="0" baseline="0" dirty="0"/>
              <a:t> </a:t>
            </a:r>
            <a:r>
              <a:rPr lang="fr-FR" sz="1800" kern="0" dirty="0"/>
              <a:t>congés des représentants du</a:t>
            </a:r>
            <a:r>
              <a:rPr lang="fr-FR" sz="1800" kern="0" baseline="0" dirty="0"/>
              <a:t> personnel</a:t>
            </a:r>
            <a:endParaRPr lang="fr-FR" sz="18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21690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s représentants du personnel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732996"/>
            <a:ext cx="648232" cy="84391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60812" y="237299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syndica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6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155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27751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260812" y="3993765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hygièn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sécur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33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3" name="Connecteur droit 12"/>
          <p:cNvCxnSpPr>
            <a:stCxn id="72" idx="3"/>
            <a:endCxn id="78" idx="1"/>
          </p:cNvCxnSpPr>
          <p:nvPr userDrawn="1"/>
        </p:nvCxnSpPr>
        <p:spPr bwMode="auto">
          <a:xfrm>
            <a:off x="2612580" y="3576907"/>
            <a:ext cx="648232" cy="7768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275442" y="3084099"/>
            <a:ext cx="36305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2567365"/>
            <a:ext cx="318039" cy="333758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418563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0742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gé restructu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u congé de</a:t>
            </a:r>
            <a:r>
              <a:rPr lang="fr-FR" sz="1800" kern="0" baseline="0" dirty="0"/>
              <a:t> transition professionnel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73977" y="3034366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transition professionnelle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2192664"/>
            <a:ext cx="2201371" cy="236461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466739"/>
            <a:ext cx="33931" cy="387366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460932"/>
            <a:ext cx="0" cy="38699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569115" y="2192664"/>
            <a:ext cx="237830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transi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fessionnell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09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691007" y="2552664"/>
            <a:ext cx="878108" cy="84170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569114" y="3837278"/>
            <a:ext cx="237830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</a:t>
            </a:r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transition</a:t>
            </a: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 professionnell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fractionné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>
            <a:off x="2691007" y="3394366"/>
            <a:ext cx="878107" cy="80291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 rot="16200000">
            <a:off x="-1373760" y="3219775"/>
            <a:ext cx="38272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5" name="Groupe 44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7" name="Rectangle 6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ZoneTexte 6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6299795" y="3868452"/>
            <a:ext cx="835755" cy="65765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8" y="2384534"/>
            <a:ext cx="318039" cy="336260"/>
          </a:xfrm>
          <a:prstGeom prst="rect">
            <a:avLst/>
          </a:prstGeom>
        </p:spPr>
      </p:pic>
      <p:pic>
        <p:nvPicPr>
          <p:cNvPr id="44" name="Picture 3" descr="D:\SkyDrive\Pro\Divers\Couteau suisse\PNG\Flèches &amp; signes\button_cancel.png">
            <a:extLst>
              <a:ext uri="{FF2B5EF4-FFF2-40B4-BE49-F238E27FC236}">
                <a16:creationId xmlns:a16="http://schemas.microsoft.com/office/drawing/2014/main" id="{9959BABA-DB71-4216-B8CC-982DFD5088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18969" y="386845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21607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suspension de fo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suspension de</a:t>
            </a:r>
            <a:r>
              <a:rPr lang="fr-FR" sz="1800" kern="0" baseline="0" dirty="0"/>
              <a:t> fonctions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09981" y="319683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Suspension de fonctions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5949" y="1637102"/>
            <a:ext cx="793957" cy="364027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49" y="1637101"/>
            <a:ext cx="793957" cy="364027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 flipH="1">
            <a:off x="8427548" y="1623397"/>
            <a:ext cx="33931" cy="36539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605120" y="1952916"/>
            <a:ext cx="225237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 inférieure à 4 mois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3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727011" y="2312916"/>
            <a:ext cx="878109" cy="124391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605121" y="3176972"/>
            <a:ext cx="2252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 inférieure à 4 mois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5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 flipV="1">
            <a:off x="2727011" y="3536972"/>
            <a:ext cx="878110" cy="198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Rectangle 89"/>
          <p:cNvSpPr/>
          <p:nvPr userDrawn="1"/>
        </p:nvSpPr>
        <p:spPr bwMode="auto">
          <a:xfrm>
            <a:off x="3605120" y="4473116"/>
            <a:ext cx="2252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tabliss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ans les fonctions</a:t>
            </a:r>
          </a:p>
        </p:txBody>
      </p:sp>
      <p:cxnSp>
        <p:nvCxnSpPr>
          <p:cNvPr id="26" name="Connecteur droit 25"/>
          <p:cNvCxnSpPr>
            <a:stCxn id="72" idx="3"/>
            <a:endCxn id="90" idx="1"/>
          </p:cNvCxnSpPr>
          <p:nvPr userDrawn="1"/>
        </p:nvCxnSpPr>
        <p:spPr bwMode="auto">
          <a:xfrm>
            <a:off x="2727011" y="3556831"/>
            <a:ext cx="878109" cy="127628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1275442" y="3084099"/>
            <a:ext cx="36305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8" name="Image 4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2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3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ZoneTexte 7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61609" y="33929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65168" y="476114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5245" y="216789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9752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reprise anticipée suite cong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69634"/>
            <a:ext cx="9061450" cy="8384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reprise</a:t>
            </a:r>
            <a:r>
              <a:rPr lang="fr-FR" sz="1800" kern="0" baseline="0" dirty="0"/>
              <a:t> anticipée des fonctions suite à</a:t>
            </a:r>
          </a:p>
          <a:p>
            <a:pPr eaLnBrk="1" hangingPunct="1"/>
            <a:r>
              <a:rPr lang="fr-FR" sz="1800" kern="0" baseline="0" dirty="0"/>
              <a:t>congé / absenc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317701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prise anticipée des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fonctions suite à congé / absence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3034558" y="3705006"/>
            <a:ext cx="28229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prise anticipée des fonctions suite à congé/absence sans impact en rémunération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3</a:t>
            </a:r>
          </a:p>
        </p:txBody>
      </p:sp>
      <p:cxnSp>
        <p:nvCxnSpPr>
          <p:cNvPr id="4" name="Connecteur droit 3"/>
          <p:cNvCxnSpPr>
            <a:stCxn id="72" idx="3"/>
            <a:endCxn id="82" idx="1"/>
          </p:cNvCxnSpPr>
          <p:nvPr userDrawn="1"/>
        </p:nvCxnSpPr>
        <p:spPr bwMode="auto">
          <a:xfrm flipV="1">
            <a:off x="2616978" y="2906433"/>
            <a:ext cx="417580" cy="6305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034558" y="2546433"/>
            <a:ext cx="28229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prise anticipée des fonctions suite à congé/absence avec impact en rémuné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1</a:t>
            </a:r>
          </a:p>
        </p:txBody>
      </p:sp>
      <p:cxnSp>
        <p:nvCxnSpPr>
          <p:cNvPr id="7" name="Connecteur droit 6"/>
          <p:cNvCxnSpPr>
            <a:stCxn id="72" idx="3"/>
            <a:endCxn id="79" idx="1"/>
          </p:cNvCxnSpPr>
          <p:nvPr userDrawn="1"/>
        </p:nvCxnSpPr>
        <p:spPr bwMode="auto">
          <a:xfrm>
            <a:off x="2616978" y="3537012"/>
            <a:ext cx="417580" cy="5279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47"/>
          <p:cNvSpPr/>
          <p:nvPr userDrawn="1"/>
        </p:nvSpPr>
        <p:spPr bwMode="auto">
          <a:xfrm>
            <a:off x="8621211" y="1763218"/>
            <a:ext cx="932466" cy="33601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7369282" y="1790727"/>
            <a:ext cx="932466" cy="33326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38" name="Rectangle 37"/>
          <p:cNvSpPr/>
          <p:nvPr userDrawn="1"/>
        </p:nvSpPr>
        <p:spPr bwMode="auto">
          <a:xfrm rot="16200000">
            <a:off x="-1155586" y="3083272"/>
            <a:ext cx="336011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0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1" name="Groupe 5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2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4" name="Rectangle 5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ZoneTexte 6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946" y="267173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946" y="385177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7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 bwMode="auto">
          <a:xfrm>
            <a:off x="7241462" y="1818182"/>
            <a:ext cx="1150082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5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arenta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275007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parental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3259108" y="18448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0 (initial)</a:t>
            </a:r>
          </a:p>
        </p:txBody>
      </p:sp>
      <p:cxnSp>
        <p:nvCxnSpPr>
          <p:cNvPr id="98" name="Straight Connector 34"/>
          <p:cNvCxnSpPr>
            <a:stCxn id="72" idx="3"/>
            <a:endCxn id="97" idx="1"/>
          </p:cNvCxnSpPr>
          <p:nvPr userDrawn="1"/>
        </p:nvCxnSpPr>
        <p:spPr bwMode="auto">
          <a:xfrm flipV="1">
            <a:off x="2580974" y="2204824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éintégration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59108" y="3655334"/>
            <a:ext cx="29281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parental avec e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62 (initial)</a:t>
            </a:r>
          </a:p>
        </p:txBody>
      </p:sp>
      <p:cxnSp>
        <p:nvCxnSpPr>
          <p:cNvPr id="4" name="Connecteur droit 3"/>
          <p:cNvCxnSpPr>
            <a:stCxn id="72" idx="3"/>
            <a:endCxn id="74" idx="1"/>
          </p:cNvCxnSpPr>
          <p:nvPr userDrawn="1"/>
        </p:nvCxnSpPr>
        <p:spPr bwMode="auto">
          <a:xfrm>
            <a:off x="2580974" y="3110079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177" y="3832466"/>
            <a:ext cx="318039" cy="336260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521794" y="1818182"/>
            <a:ext cx="1150082" cy="310996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1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3260812" y="27449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parental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1 (initial)</a:t>
            </a: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580974" y="3104924"/>
            <a:ext cx="679838" cy="51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76" y="294872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76" y="1988840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7259302" y="2711675"/>
            <a:ext cx="1107903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7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7257256" y="3652146"/>
            <a:ext cx="1107903" cy="7231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440" y="2780928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156" y="3894767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402" y="2965521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402" y="202029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44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trée fp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1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69994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396145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/>
          <p:cNvSpPr/>
          <p:nvPr userDrawn="1"/>
        </p:nvSpPr>
        <p:spPr bwMode="auto">
          <a:xfrm>
            <a:off x="3224808" y="1708887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tagiair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1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 rot="16200000">
            <a:off x="-1333609" y="3077325"/>
            <a:ext cx="364414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471" y="1900757"/>
            <a:ext cx="318039" cy="336260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3224807" y="3095707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rog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tag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1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224808" y="4329100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 de stage congés interruptif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0</a:t>
            </a: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4527718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869" y="326823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4674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 bwMode="auto">
          <a:xfrm>
            <a:off x="7241462" y="1818182"/>
            <a:ext cx="1150082" cy="74664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8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disponibilité pour élever un enf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275007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isponibilité pour élever un enfa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3259108" y="18448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ec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57 (initial)</a:t>
            </a:r>
          </a:p>
        </p:txBody>
      </p:sp>
      <p:cxnSp>
        <p:nvCxnSpPr>
          <p:cNvPr id="98" name="Straight Connector 34"/>
          <p:cNvCxnSpPr>
            <a:stCxn id="72" idx="3"/>
            <a:endCxn id="97" idx="1"/>
          </p:cNvCxnSpPr>
          <p:nvPr userDrawn="1"/>
        </p:nvCxnSpPr>
        <p:spPr bwMode="auto">
          <a:xfrm flipV="1">
            <a:off x="2580974" y="2204824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éintégration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59108" y="3655334"/>
            <a:ext cx="29281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avec e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64 (initial)</a:t>
            </a:r>
          </a:p>
        </p:txBody>
      </p:sp>
      <p:cxnSp>
        <p:nvCxnSpPr>
          <p:cNvPr id="4" name="Connecteur droit 3"/>
          <p:cNvCxnSpPr>
            <a:stCxn id="72" idx="3"/>
            <a:endCxn id="74" idx="1"/>
          </p:cNvCxnSpPr>
          <p:nvPr userDrawn="1"/>
        </p:nvCxnSpPr>
        <p:spPr bwMode="auto">
          <a:xfrm>
            <a:off x="2580974" y="3110079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521794" y="1818182"/>
            <a:ext cx="1150082" cy="310996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1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3260812" y="27449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3 (initial)</a:t>
            </a: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580974" y="3104924"/>
            <a:ext cx="679838" cy="51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>
            <a:off x="7259302" y="2747679"/>
            <a:ext cx="1107903" cy="71724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70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7257256" y="3681028"/>
            <a:ext cx="1107903" cy="69430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9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440" y="2780928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249" y="3856715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041" y="2936794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249" y="2016952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458" y="2036694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187" y="2984252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686" y="388149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4834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PP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ériode de </a:t>
            </a:r>
            <a:r>
              <a:rPr lang="fr-FR" sz="18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éparation au reclassement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963448" y="2636912"/>
            <a:ext cx="34936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Congé période de préparation au reclassement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(PPR)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INTPOS0003</a:t>
            </a:r>
          </a:p>
        </p:txBody>
      </p: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48" name="TextBox 59"/>
          <p:cNvSpPr txBox="1"/>
          <p:nvPr/>
        </p:nvSpPr>
        <p:spPr>
          <a:xfrm>
            <a:off x="6990437" y="6309325"/>
            <a:ext cx="2139027" cy="246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cte en cours de validation</a:t>
            </a: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71434" y="28537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54"/>
          <p:cNvSpPr txBox="1"/>
          <p:nvPr userDrawn="1"/>
        </p:nvSpPr>
        <p:spPr>
          <a:xfrm>
            <a:off x="6480077" y="635684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591450" y="2610153"/>
            <a:ext cx="1150082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54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3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053897" y="28537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75724" y="291188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04005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position normale d’activ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22589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6965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78583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 flipH="1">
            <a:off x="7244652" y="1466739"/>
            <a:ext cx="1" cy="379846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00646" y="1479315"/>
            <a:ext cx="0" cy="37858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7471316" y="3877288"/>
            <a:ext cx="793957" cy="6318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8727309" y="1418698"/>
            <a:ext cx="793957" cy="309042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1136576" y="315728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osition normale d’activité (PNA) </a:t>
            </a:r>
          </a:p>
        </p:txBody>
      </p:sp>
      <p:sp>
        <p:nvSpPr>
          <p:cNvPr id="78" name="Rectangle 77"/>
          <p:cNvSpPr/>
          <p:nvPr userDrawn="1"/>
        </p:nvSpPr>
        <p:spPr bwMode="auto">
          <a:xfrm>
            <a:off x="3121239" y="2024464"/>
            <a:ext cx="110837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</a:t>
            </a:r>
          </a:p>
        </p:txBody>
      </p:sp>
      <p:cxnSp>
        <p:nvCxnSpPr>
          <p:cNvPr id="79" name="Straight Connector 34"/>
          <p:cNvCxnSpPr>
            <a:stCxn id="71" idx="3"/>
            <a:endCxn id="78" idx="1"/>
          </p:cNvCxnSpPr>
          <p:nvPr userDrawn="1"/>
        </p:nvCxnSpPr>
        <p:spPr bwMode="auto">
          <a:xfrm flipV="1">
            <a:off x="2576576" y="2384464"/>
            <a:ext cx="544663" cy="113282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121239" y="4290115"/>
            <a:ext cx="1108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</a:t>
            </a:r>
          </a:p>
        </p:txBody>
      </p:sp>
      <p:cxnSp>
        <p:nvCxnSpPr>
          <p:cNvPr id="89" name="Straight Connector 34"/>
          <p:cNvCxnSpPr>
            <a:stCxn id="71" idx="3"/>
            <a:endCxn id="82" idx="1"/>
          </p:cNvCxnSpPr>
          <p:nvPr userDrawn="1"/>
        </p:nvCxnSpPr>
        <p:spPr bwMode="auto">
          <a:xfrm>
            <a:off x="2576576" y="3517289"/>
            <a:ext cx="544663" cy="113282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Rectangle 89"/>
          <p:cNvSpPr/>
          <p:nvPr userDrawn="1"/>
        </p:nvSpPr>
        <p:spPr bwMode="auto">
          <a:xfrm>
            <a:off x="4629144" y="2204864"/>
            <a:ext cx="1620000" cy="68782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accueil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6 (avec durée)</a:t>
            </a:r>
          </a:p>
        </p:txBody>
      </p:sp>
      <p:sp>
        <p:nvSpPr>
          <p:cNvPr id="91" name="Rectangle 90"/>
          <p:cNvSpPr/>
          <p:nvPr userDrawn="1"/>
        </p:nvSpPr>
        <p:spPr bwMode="auto">
          <a:xfrm>
            <a:off x="4603896" y="1448780"/>
            <a:ext cx="1620000" cy="6679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origine</a:t>
            </a:r>
          </a:p>
        </p:txBody>
      </p:sp>
      <p:sp>
        <p:nvSpPr>
          <p:cNvPr id="92" name="Rectangle 91"/>
          <p:cNvSpPr/>
          <p:nvPr userDrawn="1"/>
        </p:nvSpPr>
        <p:spPr bwMode="auto">
          <a:xfrm>
            <a:off x="4603896" y="3868994"/>
            <a:ext cx="1620000" cy="64012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, payée origine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4615583" y="4689140"/>
            <a:ext cx="1620000" cy="6292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, payée accueil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1</a:t>
            </a:r>
          </a:p>
        </p:txBody>
      </p:sp>
      <p:cxnSp>
        <p:nvCxnSpPr>
          <p:cNvPr id="94" name="Connecteur droit 93"/>
          <p:cNvCxnSpPr>
            <a:stCxn id="78" idx="3"/>
            <a:endCxn id="91" idx="1"/>
          </p:cNvCxnSpPr>
          <p:nvPr userDrawn="1"/>
        </p:nvCxnSpPr>
        <p:spPr bwMode="auto">
          <a:xfrm flipV="1">
            <a:off x="4229614" y="1782755"/>
            <a:ext cx="374282" cy="60170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Connecteur droit 94"/>
          <p:cNvCxnSpPr>
            <a:stCxn id="78" idx="3"/>
            <a:endCxn id="90" idx="1"/>
          </p:cNvCxnSpPr>
          <p:nvPr userDrawn="1"/>
        </p:nvCxnSpPr>
        <p:spPr bwMode="auto">
          <a:xfrm>
            <a:off x="4229614" y="2384464"/>
            <a:ext cx="399530" cy="16431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Connecteur droit 95"/>
          <p:cNvCxnSpPr>
            <a:stCxn id="82" idx="3"/>
            <a:endCxn id="92" idx="1"/>
          </p:cNvCxnSpPr>
          <p:nvPr userDrawn="1"/>
        </p:nvCxnSpPr>
        <p:spPr bwMode="auto">
          <a:xfrm flipV="1">
            <a:off x="4229615" y="4189057"/>
            <a:ext cx="374281" cy="4610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Connecteur droit 96"/>
          <p:cNvCxnSpPr>
            <a:stCxn id="82" idx="3"/>
            <a:endCxn id="93" idx="1"/>
          </p:cNvCxnSpPr>
          <p:nvPr userDrawn="1"/>
        </p:nvCxnSpPr>
        <p:spPr bwMode="auto">
          <a:xfrm>
            <a:off x="4229615" y="4650115"/>
            <a:ext cx="385968" cy="35366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Rectangle 59"/>
          <p:cNvSpPr/>
          <p:nvPr userDrawn="1"/>
        </p:nvSpPr>
        <p:spPr bwMode="auto">
          <a:xfrm rot="16200000">
            <a:off x="-1368458" y="3364327"/>
            <a:ext cx="378585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61" name="Image 6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9" name="Groupe 6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7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2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5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0" name="Groupe 7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4" name="Rectangle 8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ZoneTexte 86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8" name="Image 8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 bwMode="auto">
          <a:xfrm>
            <a:off x="7479889" y="1418698"/>
            <a:ext cx="817207" cy="78061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5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87592" y="179575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41708" y="4117961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628964" y="2960948"/>
            <a:ext cx="1620000" cy="68782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accueil fi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45</a:t>
            </a:r>
          </a:p>
        </p:txBody>
      </p:sp>
      <p:cxnSp>
        <p:nvCxnSpPr>
          <p:cNvPr id="63" name="Connecteur droit 62"/>
          <p:cNvCxnSpPr>
            <a:stCxn id="78" idx="3"/>
            <a:endCxn id="62" idx="1"/>
          </p:cNvCxnSpPr>
          <p:nvPr userDrawn="1"/>
        </p:nvCxnSpPr>
        <p:spPr bwMode="auto">
          <a:xfrm>
            <a:off x="4229614" y="2384464"/>
            <a:ext cx="399350" cy="92039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980" y="2420888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874" y="4764614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7297226" y="4682349"/>
            <a:ext cx="1150082" cy="63607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43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00" name="Rectangle 99"/>
          <p:cNvSpPr/>
          <p:nvPr userDrawn="1"/>
        </p:nvSpPr>
        <p:spPr bwMode="auto">
          <a:xfrm>
            <a:off x="7293253" y="2267984"/>
            <a:ext cx="1150082" cy="63607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44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103" name="Image 102">
            <a:extLst>
              <a:ext uri="{FF2B5EF4-FFF2-40B4-BE49-F238E27FC236}">
                <a16:creationId xmlns:a16="http://schemas.microsoft.com/office/drawing/2014/main" id="{84B12EAD-E7D1-4D63-9D69-EAA673E9BE4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348" y="3114877"/>
            <a:ext cx="318039" cy="336260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AFA018D3-A279-4C67-9187-567E16A86513}"/>
              </a:ext>
            </a:extLst>
          </p:cNvPr>
          <p:cNvSpPr/>
          <p:nvPr userDrawn="1"/>
        </p:nvSpPr>
        <p:spPr bwMode="auto">
          <a:xfrm>
            <a:off x="8572116" y="4676487"/>
            <a:ext cx="1135652" cy="63827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77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66" name="Image 65">
            <a:extLst>
              <a:ext uri="{FF2B5EF4-FFF2-40B4-BE49-F238E27FC236}">
                <a16:creationId xmlns:a16="http://schemas.microsoft.com/office/drawing/2014/main" id="{3D53F14B-A5FE-4ACA-B12A-AC202EEFB25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8922" y="4902032"/>
            <a:ext cx="318039" cy="336260"/>
          </a:xfrm>
          <a:prstGeom prst="rect">
            <a:avLst/>
          </a:prstGeom>
        </p:spPr>
      </p:pic>
      <p:pic>
        <p:nvPicPr>
          <p:cNvPr id="99" name="Image 98">
            <a:extLst>
              <a:ext uri="{FF2B5EF4-FFF2-40B4-BE49-F238E27FC236}">
                <a16:creationId xmlns:a16="http://schemas.microsoft.com/office/drawing/2014/main" id="{8F051F83-735F-4438-B03C-DC5D2323DA1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401" y="4917014"/>
            <a:ext cx="318039" cy="336260"/>
          </a:xfrm>
          <a:prstGeom prst="rect">
            <a:avLst/>
          </a:prstGeom>
        </p:spPr>
      </p:pic>
      <p:pic>
        <p:nvPicPr>
          <p:cNvPr id="101" name="Image 100">
            <a:extLst>
              <a:ext uri="{FF2B5EF4-FFF2-40B4-BE49-F238E27FC236}">
                <a16:creationId xmlns:a16="http://schemas.microsoft.com/office/drawing/2014/main" id="{72C10D0A-AD30-4240-B5A1-53D1ADBC163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630" y="251330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9486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MAD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 userDrawn="1"/>
        </p:nvSpPr>
        <p:spPr bwMode="auto">
          <a:xfrm>
            <a:off x="7280807" y="1772816"/>
            <a:ext cx="1007717" cy="26282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4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mise à disposition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65242" y="2713017"/>
            <a:ext cx="111413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Mise à disposition (MAD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585389" y="1772816"/>
            <a:ext cx="143933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sans changement de résidenc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079381" y="2132816"/>
            <a:ext cx="506008" cy="9402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Rectangle 98"/>
          <p:cNvSpPr/>
          <p:nvPr userDrawn="1"/>
        </p:nvSpPr>
        <p:spPr bwMode="auto">
          <a:xfrm>
            <a:off x="2585389" y="3681108"/>
            <a:ext cx="144079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avec changement de résidence en métropol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00" name="Straight Connector 34"/>
          <p:cNvCxnSpPr>
            <a:stCxn id="72" idx="3"/>
            <a:endCxn id="99" idx="1"/>
          </p:cNvCxnSpPr>
          <p:nvPr userDrawn="1"/>
        </p:nvCxnSpPr>
        <p:spPr bwMode="auto">
          <a:xfrm>
            <a:off x="2079381" y="3073017"/>
            <a:ext cx="506008" cy="96809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5780162" y="1062958"/>
            <a:ext cx="1552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466602" y="1062958"/>
            <a:ext cx="13109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166531" y="106295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32600" y="1658339"/>
            <a:ext cx="33931" cy="36190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399758" y="1658339"/>
            <a:ext cx="0" cy="36190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4209415" y="1888165"/>
            <a:ext cx="1829027" cy="48063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sans changement de résidenc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2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4218553" y="3681108"/>
            <a:ext cx="184319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avec changement de résidence en métropol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2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10" name="Connecteur droit 109"/>
          <p:cNvCxnSpPr>
            <a:stCxn id="74" idx="3"/>
            <a:endCxn id="89" idx="1"/>
          </p:cNvCxnSpPr>
          <p:nvPr userDrawn="1"/>
        </p:nvCxnSpPr>
        <p:spPr bwMode="auto">
          <a:xfrm flipV="1">
            <a:off x="4024727" y="2128484"/>
            <a:ext cx="184688" cy="43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Connecteur droit 118"/>
          <p:cNvCxnSpPr>
            <a:stCxn id="99" idx="3"/>
            <a:endCxn id="90" idx="1"/>
          </p:cNvCxnSpPr>
          <p:nvPr userDrawn="1"/>
        </p:nvCxnSpPr>
        <p:spPr bwMode="auto">
          <a:xfrm>
            <a:off x="4026187" y="4041108"/>
            <a:ext cx="19236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 rot="16200000">
            <a:off x="-1784215" y="3338174"/>
            <a:ext cx="461736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61" name="Image 6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8" name="Groupe 6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8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5" name="Groupe 9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10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05" name="Rectangle 10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" name="ZoneTexte 11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14" name="Image 1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115" name="Image 11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73" name="Rectangle 72"/>
          <p:cNvSpPr/>
          <p:nvPr userDrawn="1"/>
        </p:nvSpPr>
        <p:spPr bwMode="auto">
          <a:xfrm>
            <a:off x="8554944" y="1772816"/>
            <a:ext cx="1007717" cy="26282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3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2594477" y="2708738"/>
            <a:ext cx="143626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avec changement de résidence hors métropole</a:t>
            </a:r>
          </a:p>
        </p:txBody>
      </p:sp>
      <p:cxnSp>
        <p:nvCxnSpPr>
          <p:cNvPr id="84" name="Connecteur droit 83"/>
          <p:cNvCxnSpPr/>
          <p:nvPr userDrawn="1"/>
        </p:nvCxnSpPr>
        <p:spPr bwMode="auto">
          <a:xfrm>
            <a:off x="4030739" y="3054535"/>
            <a:ext cx="167101" cy="22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 userDrawn="1"/>
        </p:nvSpPr>
        <p:spPr bwMode="auto">
          <a:xfrm>
            <a:off x="4194163" y="2636993"/>
            <a:ext cx="1843192" cy="8280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avec changement de résidence hors métropol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0 (initial)</a:t>
            </a:r>
          </a:p>
        </p:txBody>
      </p:sp>
      <p:cxnSp>
        <p:nvCxnSpPr>
          <p:cNvPr id="101" name="Straight Connector 34"/>
          <p:cNvCxnSpPr>
            <a:endCxn id="79" idx="1"/>
          </p:cNvCxnSpPr>
          <p:nvPr userDrawn="1"/>
        </p:nvCxnSpPr>
        <p:spPr bwMode="auto">
          <a:xfrm flipV="1">
            <a:off x="2113472" y="3068738"/>
            <a:ext cx="481005" cy="969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125" y="2112907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049" y="2112907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4755" y="1944777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6750" y="2888940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633" y="386104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9218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Processus Prolongation activ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prolongation / allongement</a:t>
            </a:r>
            <a:r>
              <a:rPr lang="fr-FR" sz="1800" kern="0" baseline="0" dirty="0"/>
              <a:t> d’activité</a:t>
            </a:r>
            <a:endParaRPr lang="fr-FR" sz="16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333023" y="239678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olongation d’activité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755695"/>
            <a:ext cx="793957" cy="3509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833813" y="1830015"/>
            <a:ext cx="21368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ivité art 1.1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4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950053" y="2190015"/>
            <a:ext cx="883760" cy="56676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862565" y="3029577"/>
            <a:ext cx="27431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3833813" y="3093221"/>
            <a:ext cx="21368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 d’activité art 1.3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42</a:t>
            </a:r>
          </a:p>
        </p:txBody>
      </p:sp>
      <p:cxnSp>
        <p:nvCxnSpPr>
          <p:cNvPr id="42" name="Straight Connector 34"/>
          <p:cNvCxnSpPr>
            <a:stCxn id="72" idx="3"/>
            <a:endCxn id="39" idx="1"/>
          </p:cNvCxnSpPr>
          <p:nvPr userDrawn="1"/>
        </p:nvCxnSpPr>
        <p:spPr bwMode="auto">
          <a:xfrm>
            <a:off x="2950053" y="2756781"/>
            <a:ext cx="883760" cy="6964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>
            <a:off x="8689560" y="1755696"/>
            <a:ext cx="793957" cy="348609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46" name="Image 45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ZoneTexte 5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61" name="Rectangle 60"/>
          <p:cNvSpPr/>
          <p:nvPr userDrawn="1"/>
        </p:nvSpPr>
        <p:spPr bwMode="auto">
          <a:xfrm>
            <a:off x="1333023" y="4316808"/>
            <a:ext cx="1617030" cy="67835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i="0" kern="0" dirty="0">
                <a:solidFill>
                  <a:srgbClr val="004272"/>
                </a:solidFill>
                <a:latin typeface="+mn-lt"/>
                <a:cs typeface="ＭＳ Ｐゴシック"/>
              </a:rPr>
              <a:t>Allongement</a:t>
            </a:r>
            <a:r>
              <a:rPr lang="fr-FR" sz="1100" b="1" i="0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100" b="1" i="0" kern="0" dirty="0">
                <a:solidFill>
                  <a:srgbClr val="004272"/>
                </a:solidFill>
                <a:latin typeface="+mn-lt"/>
                <a:cs typeface="ＭＳ Ｐゴシック"/>
              </a:rPr>
              <a:t>d’activité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3842563" y="4316809"/>
            <a:ext cx="2136824" cy="6783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ul 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38</a:t>
            </a: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731" y="4514986"/>
            <a:ext cx="318039" cy="336260"/>
          </a:xfrm>
          <a:prstGeom prst="rect">
            <a:avLst/>
          </a:prstGeom>
        </p:spPr>
      </p:pic>
      <p:cxnSp>
        <p:nvCxnSpPr>
          <p:cNvPr id="65" name="Straight Connector 34"/>
          <p:cNvCxnSpPr>
            <a:stCxn id="61" idx="3"/>
            <a:endCxn id="63" idx="1"/>
          </p:cNvCxnSpPr>
          <p:nvPr userDrawn="1"/>
        </p:nvCxnSpPr>
        <p:spPr bwMode="auto">
          <a:xfrm>
            <a:off x="2950053" y="4655984"/>
            <a:ext cx="89251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731" y="3301998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36" y="201800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9950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détach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détacheme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93746" y="331535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</a:t>
            </a:r>
          </a:p>
        </p:txBody>
      </p:sp>
      <p:cxnSp>
        <p:nvCxnSpPr>
          <p:cNvPr id="79" name="Straight Connector 52"/>
          <p:cNvCxnSpPr>
            <a:stCxn id="72" idx="3"/>
            <a:endCxn id="104" idx="1"/>
          </p:cNvCxnSpPr>
          <p:nvPr userDrawn="1"/>
        </p:nvCxnSpPr>
        <p:spPr bwMode="auto">
          <a:xfrm flipV="1">
            <a:off x="2433746" y="3482976"/>
            <a:ext cx="1164099" cy="19237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/>
          <p:cNvSpPr/>
          <p:nvPr userDrawn="1"/>
        </p:nvSpPr>
        <p:spPr bwMode="auto">
          <a:xfrm>
            <a:off x="3584848" y="1664804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 au sein de la FPE sur un emploi conduisant à pension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5</a:t>
            </a:r>
          </a:p>
        </p:txBody>
      </p:sp>
      <p:cxnSp>
        <p:nvCxnSpPr>
          <p:cNvPr id="81" name="Straight Connector 34"/>
          <p:cNvCxnSpPr>
            <a:stCxn id="72" idx="3"/>
            <a:endCxn id="80" idx="1"/>
          </p:cNvCxnSpPr>
          <p:nvPr userDrawn="1"/>
        </p:nvCxnSpPr>
        <p:spPr bwMode="auto">
          <a:xfrm flipV="1">
            <a:off x="2433746" y="1934804"/>
            <a:ext cx="1151102" cy="17405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Rectangle 102"/>
          <p:cNvSpPr/>
          <p:nvPr userDrawn="1"/>
        </p:nvSpPr>
        <p:spPr bwMode="auto">
          <a:xfrm>
            <a:off x="3602935" y="2420888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 hors FP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6</a:t>
            </a:r>
          </a:p>
        </p:txBody>
      </p:sp>
      <p:sp>
        <p:nvSpPr>
          <p:cNvPr id="104" name="Rectangle 103"/>
          <p:cNvSpPr/>
          <p:nvPr userDrawn="1"/>
        </p:nvSpPr>
        <p:spPr bwMode="auto">
          <a:xfrm>
            <a:off x="3597845" y="321297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6</a:t>
            </a:r>
          </a:p>
        </p:txBody>
      </p:sp>
      <p:cxnSp>
        <p:nvCxnSpPr>
          <p:cNvPr id="105" name="Straight Connector 52"/>
          <p:cNvCxnSpPr>
            <a:stCxn id="72" idx="3"/>
            <a:endCxn id="103" idx="1"/>
          </p:cNvCxnSpPr>
          <p:nvPr userDrawn="1"/>
        </p:nvCxnSpPr>
        <p:spPr bwMode="auto">
          <a:xfrm flipV="1">
            <a:off x="2433746" y="2690888"/>
            <a:ext cx="1169189" cy="98446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TextBox 29"/>
          <p:cNvSpPr txBox="1"/>
          <p:nvPr userDrawn="1"/>
        </p:nvSpPr>
        <p:spPr>
          <a:xfrm>
            <a:off x="6070310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00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2" name="TextBox 69"/>
          <p:cNvSpPr txBox="1"/>
          <p:nvPr userDrawn="1"/>
        </p:nvSpPr>
        <p:spPr>
          <a:xfrm>
            <a:off x="7236204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6" name="Straight Connector 66"/>
          <p:cNvCxnSpPr/>
          <p:nvPr userDrawn="1"/>
        </p:nvCxnSpPr>
        <p:spPr bwMode="auto">
          <a:xfrm flipH="1">
            <a:off x="7193598" y="1466739"/>
            <a:ext cx="8676" cy="38729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7" name="Straight Connector 68"/>
          <p:cNvCxnSpPr/>
          <p:nvPr userDrawn="1"/>
        </p:nvCxnSpPr>
        <p:spPr bwMode="auto">
          <a:xfrm>
            <a:off x="8458267" y="1460932"/>
            <a:ext cx="22573" cy="38787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24559" y="3248748"/>
            <a:ext cx="389805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2" name="Groupe 6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2" name="Rectangle 91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ZoneTexte 9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6" name="Image 9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8" y="3292583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193" y="2588323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286" y="1766674"/>
            <a:ext cx="318039" cy="336260"/>
          </a:xfrm>
          <a:prstGeom prst="rect">
            <a:avLst/>
          </a:prstGeom>
        </p:spPr>
      </p:pic>
      <p:pic>
        <p:nvPicPr>
          <p:cNvPr id="53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61312" y="183843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61312" y="2667101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/>
          <p:cNvSpPr/>
          <p:nvPr userDrawn="1"/>
        </p:nvSpPr>
        <p:spPr bwMode="auto">
          <a:xfrm>
            <a:off x="3602935" y="465319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égration accueil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ite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détachement_sortan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4</a:t>
            </a:r>
          </a:p>
        </p:txBody>
      </p:sp>
      <p:cxnSp>
        <p:nvCxnSpPr>
          <p:cNvPr id="58" name="Straight Connector 52"/>
          <p:cNvCxnSpPr>
            <a:stCxn id="72" idx="3"/>
            <a:endCxn id="57" idx="1"/>
          </p:cNvCxnSpPr>
          <p:nvPr userDrawn="1"/>
        </p:nvCxnSpPr>
        <p:spPr bwMode="auto">
          <a:xfrm>
            <a:off x="2433746" y="3675354"/>
            <a:ext cx="1169189" cy="124784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 userDrawn="1"/>
        </p:nvSpPr>
        <p:spPr bwMode="auto">
          <a:xfrm>
            <a:off x="8715412" y="1755695"/>
            <a:ext cx="793957" cy="3509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7437276" y="3482321"/>
            <a:ext cx="793957" cy="1775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7" y="4748924"/>
            <a:ext cx="318039" cy="336260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 bwMode="auto">
          <a:xfrm>
            <a:off x="3597844" y="396746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Fin de détach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ntran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46</a:t>
            </a:r>
          </a:p>
        </p:txBody>
      </p:sp>
      <p:cxnSp>
        <p:nvCxnSpPr>
          <p:cNvPr id="51" name="Straight Connector 52"/>
          <p:cNvCxnSpPr>
            <a:stCxn id="72" idx="3"/>
            <a:endCxn id="50" idx="1"/>
          </p:cNvCxnSpPr>
          <p:nvPr userDrawn="1"/>
        </p:nvCxnSpPr>
        <p:spPr bwMode="auto">
          <a:xfrm>
            <a:off x="2433746" y="3675354"/>
            <a:ext cx="1164098" cy="5621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286" y="411162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8824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disponibil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 userDrawn="1"/>
        </p:nvSpPr>
        <p:spPr bwMode="auto">
          <a:xfrm>
            <a:off x="7191780" y="1807015"/>
            <a:ext cx="1165894" cy="57985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09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disponibi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314292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isponibilité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919547" y="1825394"/>
            <a:ext cx="2880000" cy="45147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utoris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/ d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roit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0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468564" y="2051133"/>
            <a:ext cx="450983" cy="1451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/>
          <p:cNvSpPr/>
          <p:nvPr userDrawn="1"/>
        </p:nvSpPr>
        <p:spPr bwMode="auto">
          <a:xfrm>
            <a:off x="2919547" y="2719948"/>
            <a:ext cx="2880000" cy="56503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 pour raison de santé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7 (initial)</a:t>
            </a:r>
          </a:p>
        </p:txBody>
      </p:sp>
      <p:cxnSp>
        <p:nvCxnSpPr>
          <p:cNvPr id="102" name="Straight Connector 34"/>
          <p:cNvCxnSpPr>
            <a:stCxn id="72" idx="3"/>
            <a:endCxn id="101" idx="1"/>
          </p:cNvCxnSpPr>
          <p:nvPr userDrawn="1"/>
        </p:nvCxnSpPr>
        <p:spPr bwMode="auto">
          <a:xfrm flipV="1">
            <a:off x="2468564" y="3002466"/>
            <a:ext cx="450983" cy="50045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68"/>
          <p:cNvCxnSpPr/>
          <p:nvPr userDrawn="1"/>
        </p:nvCxnSpPr>
        <p:spPr bwMode="auto">
          <a:xfrm>
            <a:off x="8386779" y="4010156"/>
            <a:ext cx="0" cy="78180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TextBox 29"/>
          <p:cNvSpPr txBox="1"/>
          <p:nvPr userDrawn="1"/>
        </p:nvSpPr>
        <p:spPr>
          <a:xfrm>
            <a:off x="5910253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484629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166247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132316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388310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923707" y="3588476"/>
            <a:ext cx="2880000" cy="52394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 suite à disponibilité sur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utorisation / de droit</a:t>
            </a:r>
          </a:p>
          <a:p>
            <a:pPr lvl="0"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6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2" name="Connecteur droit 21"/>
          <p:cNvCxnSpPr>
            <a:stCxn id="72" idx="3"/>
            <a:endCxn id="78" idx="1"/>
          </p:cNvCxnSpPr>
          <p:nvPr userDrawn="1"/>
        </p:nvCxnSpPr>
        <p:spPr bwMode="auto">
          <a:xfrm>
            <a:off x="2468564" y="3502925"/>
            <a:ext cx="455143" cy="3475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7463800" y="3588477"/>
            <a:ext cx="593025" cy="14760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8589966" y="1638200"/>
            <a:ext cx="932466" cy="373844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04287" y="3228476"/>
            <a:ext cx="385751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2923707" y="4561151"/>
            <a:ext cx="2880000" cy="50336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 suite à disponibilité d’office pour raison de santé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9</a:t>
            </a:r>
          </a:p>
        </p:txBody>
      </p:sp>
      <p:cxnSp>
        <p:nvCxnSpPr>
          <p:cNvPr id="87" name="Connecteur droit 86"/>
          <p:cNvCxnSpPr>
            <a:stCxn id="72" idx="3"/>
            <a:endCxn id="49" idx="1"/>
          </p:cNvCxnSpPr>
          <p:nvPr userDrawn="1"/>
        </p:nvCxnSpPr>
        <p:spPr bwMode="auto">
          <a:xfrm>
            <a:off x="2468564" y="3502925"/>
            <a:ext cx="455143" cy="13099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8" name="Groupe 5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8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8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6" name="Groupe 85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1" name="Rectangle 9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" name="ZoneTexte 96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9" name="Image 9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71" y="4653136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123" y="2845386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7172531" y="2705128"/>
            <a:ext cx="1165894" cy="57985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18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143" y="2901772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148" y="3681028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143" y="2038551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600" y="191828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185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s sans trai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 userDrawn="1"/>
        </p:nvSpPr>
        <p:spPr bwMode="auto">
          <a:xfrm>
            <a:off x="7427301" y="2040587"/>
            <a:ext cx="1058489" cy="60814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1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sans</a:t>
            </a:r>
            <a:r>
              <a:rPr lang="fr-FR" sz="1800" kern="0" baseline="0" dirty="0"/>
              <a:t> traitement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04970" y="3065101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sans traitement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13815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48579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6966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63939" y="1831402"/>
            <a:ext cx="793957" cy="330600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575691" y="3064292"/>
            <a:ext cx="793957" cy="206833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401947" y="164704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85790" y="161531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09040" y="2052557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traitement art 19 D 94-874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1 (initial)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544970" y="2412557"/>
            <a:ext cx="864070" cy="101254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09226" y="4128125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 traitement ar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20 D 94-874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0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544970" y="3425101"/>
            <a:ext cx="864256" cy="106302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>
            <a:off x="3409226" y="3065101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 traitement réintégration 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3</a:t>
            </a:r>
          </a:p>
        </p:txBody>
      </p:sp>
      <p:cxnSp>
        <p:nvCxnSpPr>
          <p:cNvPr id="48" name="Straight Connector 34"/>
          <p:cNvCxnSpPr>
            <a:stCxn id="72" idx="3"/>
            <a:endCxn id="47" idx="1"/>
          </p:cNvCxnSpPr>
          <p:nvPr userDrawn="1"/>
        </p:nvCxnSpPr>
        <p:spPr bwMode="auto">
          <a:xfrm>
            <a:off x="2544970" y="3425101"/>
            <a:ext cx="864256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48"/>
          <p:cNvSpPr/>
          <p:nvPr userDrawn="1"/>
        </p:nvSpPr>
        <p:spPr bwMode="auto">
          <a:xfrm rot="16200000">
            <a:off x="-1214449" y="3023106"/>
            <a:ext cx="350860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6" name="Image 45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8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9" name="Groupe 68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0" name="Rectangle 7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ZoneTexte 82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7525" y="2249066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677" y="428833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666" y="3296914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414" y="224442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529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Processus Rémun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 bwMode="auto">
          <a:xfrm>
            <a:off x="8512468" y="3093220"/>
            <a:ext cx="1058489" cy="62381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IND0005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éléments de rémunération</a:t>
            </a:r>
            <a:endParaRPr lang="fr-FR" sz="16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83742" y="3093220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émunération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896295"/>
            <a:ext cx="793957" cy="33689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805270" y="3093220"/>
            <a:ext cx="202257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ouvelle bonific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indiciaire (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BI) titulair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,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IND0004 (début)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900772" y="3453220"/>
            <a:ext cx="90449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Indemnitaire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38" name="Groupe 3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1" name="Rectangle 5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2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ZoneTexte 53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762" y="3253291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949" y="329878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9024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éléments annexes de rémun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</a:t>
            </a:r>
            <a:r>
              <a:rPr lang="fr-FR" sz="1800" b="1" kern="0" dirty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rPr>
              <a:t>Gestion des éléments annexes de rémunération</a:t>
            </a:r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3105044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émunéra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annexe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5949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49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584310" y="3105044"/>
            <a:ext cx="202257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0127 – prime spéciale d’installation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mv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22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IND0001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794008" y="3465044"/>
            <a:ext cx="790302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 rot="16200000">
            <a:off x="-1279458" y="3085892"/>
            <a:ext cx="363862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Indemnitaire</a:t>
            </a:r>
          </a:p>
        </p:txBody>
      </p:sp>
      <p:pic>
        <p:nvPicPr>
          <p:cNvPr id="51" name="Image 5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5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0" name="Rectangle 5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522" y="329691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694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rée fp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2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02500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610512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69994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6105128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5894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Rectangle 74"/>
          <p:cNvSpPr/>
          <p:nvPr userDrawn="1"/>
        </p:nvSpPr>
        <p:spPr bwMode="auto">
          <a:xfrm>
            <a:off x="2877781" y="2564984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corp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0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2864768" y="3501008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sortant_EF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7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864768" y="1700808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sortant_corp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9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2864768" y="4473196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EF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1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343" y="1892678"/>
            <a:ext cx="318039" cy="336260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054" y="2756854"/>
            <a:ext cx="318039" cy="336260"/>
          </a:xfrm>
          <a:prstGeom prst="rect">
            <a:avLst/>
          </a:prstGeom>
        </p:spPr>
      </p:pic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405" y="4589044"/>
            <a:ext cx="318039" cy="336260"/>
          </a:xfrm>
          <a:prstGeom prst="rect">
            <a:avLst/>
          </a:prstGeom>
        </p:spPr>
      </p:pic>
      <p:sp>
        <p:nvSpPr>
          <p:cNvPr id="60" name="Rectangle 59"/>
          <p:cNvSpPr/>
          <p:nvPr userDrawn="1"/>
        </p:nvSpPr>
        <p:spPr bwMode="auto">
          <a:xfrm>
            <a:off x="6172693" y="1705745"/>
            <a:ext cx="1103946" cy="34952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ccueil en détachement renouvellement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7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68"/>
          <p:cNvCxnSpPr/>
          <p:nvPr userDrawn="1"/>
        </p:nvCxnSpPr>
        <p:spPr bwMode="auto">
          <a:xfrm>
            <a:off x="7329264" y="161525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TextBox 69"/>
          <p:cNvSpPr txBox="1"/>
          <p:nvPr userDrawn="1"/>
        </p:nvSpPr>
        <p:spPr>
          <a:xfrm>
            <a:off x="7436297" y="1294953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Intégration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7365268" y="1700316"/>
            <a:ext cx="1188132" cy="34952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égr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cueil suite détachement entrant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5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179" y="4103870"/>
            <a:ext cx="318039" cy="336260"/>
          </a:xfrm>
          <a:prstGeom prst="rect">
            <a:avLst/>
          </a:prstGeom>
        </p:spPr>
      </p:pic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5754" y="4115838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056" y="368998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8733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clusion temporaire de fon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xclusion temporaire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1734" y="3106544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Exclusion temporaire de fonctions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375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9945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04828" y="1776828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avec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sis tota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DIS000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828764" y="2136828"/>
            <a:ext cx="576064" cy="13297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04828" y="4462690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(stagiair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4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828764" y="3466544"/>
            <a:ext cx="576064" cy="135614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404828" y="3537092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sans surs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2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>
            <a:off x="2828764" y="3466544"/>
            <a:ext cx="576064" cy="4305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Rectangle 45"/>
          <p:cNvSpPr/>
          <p:nvPr userDrawn="1"/>
        </p:nvSpPr>
        <p:spPr bwMode="auto">
          <a:xfrm rot="16200000">
            <a:off x="-1282187" y="3077354"/>
            <a:ext cx="36440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Sanctions</a:t>
            </a:r>
          </a:p>
        </p:txBody>
      </p:sp>
      <p:pic>
        <p:nvPicPr>
          <p:cNvPr id="47" name="Image 46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2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3" name="Groupe 5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3404828" y="2600988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avec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sis parti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DIS0005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828764" y="2960988"/>
            <a:ext cx="576064" cy="50555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53669" y="469897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5686" y="1984770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42" y="2787056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217" y="378978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7643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Masque radiation des cadres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1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3096130"/>
            <a:ext cx="1260140" cy="76491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2623103" y="3319173"/>
            <a:ext cx="3818876" cy="3160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bandon de pos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0</a:t>
            </a:r>
          </a:p>
        </p:txBody>
      </p:sp>
      <p:cxnSp>
        <p:nvCxnSpPr>
          <p:cNvPr id="80" name="Straight Connector 34"/>
          <p:cNvCxnSpPr>
            <a:stCxn id="72" idx="3"/>
            <a:endCxn id="79" idx="1"/>
          </p:cNvCxnSpPr>
          <p:nvPr userDrawn="1"/>
        </p:nvCxnSpPr>
        <p:spPr bwMode="auto">
          <a:xfrm flipV="1">
            <a:off x="2288704" y="3477199"/>
            <a:ext cx="334399" cy="139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8767555" y="1657941"/>
            <a:ext cx="793957" cy="321416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3" name="Straight Connector 52"/>
          <p:cNvCxnSpPr>
            <a:stCxn id="72" idx="3"/>
            <a:endCxn id="105" idx="1"/>
          </p:cNvCxnSpPr>
          <p:nvPr userDrawn="1"/>
        </p:nvCxnSpPr>
        <p:spPr bwMode="auto">
          <a:xfrm>
            <a:off x="2288704" y="3478589"/>
            <a:ext cx="333689" cy="6464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5" name="Rectangle 104"/>
          <p:cNvSpPr/>
          <p:nvPr userDrawn="1"/>
        </p:nvSpPr>
        <p:spPr bwMode="auto">
          <a:xfrm>
            <a:off x="2622393" y="3934523"/>
            <a:ext cx="3819587" cy="3810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cè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2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12927" y="1670027"/>
            <a:ext cx="793957" cy="314638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2530" y="1057673"/>
            <a:ext cx="999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42165" y="1048670"/>
            <a:ext cx="971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54033" y="113461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8460" y="1600627"/>
            <a:ext cx="0" cy="337654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53424" y="1600627"/>
            <a:ext cx="0" cy="341594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564" y="5183258"/>
            <a:ext cx="362413" cy="362413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 bwMode="auto">
          <a:xfrm rot="16200000">
            <a:off x="-1461069" y="3272352"/>
            <a:ext cx="40018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2622393" y="2590466"/>
            <a:ext cx="3818876" cy="3341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 anticipée d’activité – amian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7</a:t>
            </a:r>
          </a:p>
        </p:txBody>
      </p:sp>
      <p:cxnSp>
        <p:nvCxnSpPr>
          <p:cNvPr id="86" name="Straight Connector 34"/>
          <p:cNvCxnSpPr>
            <a:stCxn id="72" idx="3"/>
            <a:endCxn id="84" idx="1"/>
          </p:cNvCxnSpPr>
          <p:nvPr userDrawn="1"/>
        </p:nvCxnSpPr>
        <p:spPr bwMode="auto">
          <a:xfrm flipV="1">
            <a:off x="2288704" y="2757562"/>
            <a:ext cx="333689" cy="72102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89" name="Groupe 8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9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9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9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4" name="Groupe 9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0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ZoneTexte 10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80512" y="262976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414" y="3980839"/>
            <a:ext cx="318039" cy="336260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431" y="329609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361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Masque radiation des cadre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2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2924944"/>
            <a:ext cx="1260140" cy="76491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8767555" y="1478083"/>
            <a:ext cx="793957" cy="361543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12927" y="1526798"/>
            <a:ext cx="793957" cy="353421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2530" y="1057673"/>
            <a:ext cx="999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42165" y="980728"/>
            <a:ext cx="971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54033" y="113461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8460" y="1600627"/>
            <a:ext cx="0" cy="34125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53424" y="1513478"/>
            <a:ext cx="0" cy="35475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Straight Connector 23"/>
          <p:cNvCxnSpPr>
            <a:stCxn id="166" idx="3"/>
            <a:endCxn id="163" idx="1"/>
          </p:cNvCxnSpPr>
          <p:nvPr userDrawn="1"/>
        </p:nvCxnSpPr>
        <p:spPr bwMode="auto">
          <a:xfrm>
            <a:off x="3659970" y="3259697"/>
            <a:ext cx="268198" cy="12733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3" name="Rectangle 162"/>
          <p:cNvSpPr/>
          <p:nvPr userDrawn="1"/>
        </p:nvSpPr>
        <p:spPr bwMode="auto">
          <a:xfrm>
            <a:off x="3928168" y="4252197"/>
            <a:ext cx="2523855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Sans </a:t>
            </a: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indemnité</a:t>
            </a:r>
            <a:r>
              <a:rPr lang="fr-FR" sz="110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de départ volontai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INTCES0001</a:t>
            </a:r>
          </a:p>
        </p:txBody>
      </p:sp>
      <p:sp>
        <p:nvSpPr>
          <p:cNvPr id="164" name="Rectangle 163"/>
          <p:cNvSpPr/>
          <p:nvPr userDrawn="1"/>
        </p:nvSpPr>
        <p:spPr bwMode="auto">
          <a:xfrm>
            <a:off x="3934265" y="2978897"/>
            <a:ext cx="1145737" cy="56159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Avec indemnité de départ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volontaire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cxnSp>
        <p:nvCxnSpPr>
          <p:cNvPr id="165" name="Straight Connector 40"/>
          <p:cNvCxnSpPr>
            <a:stCxn id="166" idx="3"/>
            <a:endCxn id="164" idx="1"/>
          </p:cNvCxnSpPr>
          <p:nvPr userDrawn="1"/>
        </p:nvCxnSpPr>
        <p:spPr bwMode="auto">
          <a:xfrm>
            <a:off x="3659970" y="3259697"/>
            <a:ext cx="27429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6" name="Rectangle 165"/>
          <p:cNvSpPr/>
          <p:nvPr userDrawn="1"/>
        </p:nvSpPr>
        <p:spPr bwMode="auto">
          <a:xfrm>
            <a:off x="2623103" y="2978897"/>
            <a:ext cx="1036867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</a:t>
            </a:r>
          </a:p>
        </p:txBody>
      </p:sp>
      <p:sp>
        <p:nvSpPr>
          <p:cNvPr id="167" name="Rectangle 166"/>
          <p:cNvSpPr/>
          <p:nvPr userDrawn="1"/>
        </p:nvSpPr>
        <p:spPr bwMode="auto">
          <a:xfrm>
            <a:off x="5312438" y="3452015"/>
            <a:ext cx="1129542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Suite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rupture conventionnelle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INTCES0020</a:t>
            </a:r>
          </a:p>
        </p:txBody>
      </p:sp>
      <p:sp>
        <p:nvSpPr>
          <p:cNvPr id="168" name="Rectangle 167"/>
          <p:cNvSpPr/>
          <p:nvPr userDrawn="1"/>
        </p:nvSpPr>
        <p:spPr bwMode="auto">
          <a:xfrm>
            <a:off x="5312438" y="2514717"/>
            <a:ext cx="1129542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réorganis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INTCES0017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cxnSp>
        <p:nvCxnSpPr>
          <p:cNvPr id="169" name="Connecteur droit 168"/>
          <p:cNvCxnSpPr>
            <a:stCxn id="164" idx="3"/>
            <a:endCxn id="168" idx="1"/>
          </p:cNvCxnSpPr>
          <p:nvPr userDrawn="1"/>
        </p:nvCxnSpPr>
        <p:spPr bwMode="auto">
          <a:xfrm flipV="1">
            <a:off x="5080002" y="2795517"/>
            <a:ext cx="232436" cy="4641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Connecteur droit 169"/>
          <p:cNvCxnSpPr>
            <a:stCxn id="164" idx="3"/>
            <a:endCxn id="167" idx="1"/>
          </p:cNvCxnSpPr>
          <p:nvPr userDrawn="1"/>
        </p:nvCxnSpPr>
        <p:spPr bwMode="auto">
          <a:xfrm>
            <a:off x="5080002" y="3259697"/>
            <a:ext cx="232436" cy="47311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Connecteur droit 193"/>
          <p:cNvCxnSpPr>
            <a:endCxn id="166" idx="1"/>
          </p:cNvCxnSpPr>
          <p:nvPr userDrawn="1"/>
        </p:nvCxnSpPr>
        <p:spPr bwMode="auto">
          <a:xfrm flipV="1">
            <a:off x="2271122" y="3259697"/>
            <a:ext cx="351981" cy="446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564" y="5183258"/>
            <a:ext cx="362413" cy="362413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 bwMode="auto">
          <a:xfrm rot="16200000">
            <a:off x="-1461069" y="3272352"/>
            <a:ext cx="40018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3921782" y="1727414"/>
            <a:ext cx="2523855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Démission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pendant la période d’essai (titulaire, stagiaire)</a:t>
            </a:r>
            <a:endParaRPr lang="fr-FR" sz="1050" i="1" kern="0" dirty="0">
              <a:solidFill>
                <a:srgbClr val="004272"/>
              </a:solidFill>
              <a:latin typeface="Arial (Corps)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5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44414" y="1952836"/>
            <a:ext cx="201612" cy="130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3" name="Straight Connector 40"/>
          <p:cNvCxnSpPr>
            <a:stCxn id="166" idx="3"/>
            <a:endCxn id="58" idx="1"/>
          </p:cNvCxnSpPr>
          <p:nvPr userDrawn="1"/>
        </p:nvCxnSpPr>
        <p:spPr bwMode="auto">
          <a:xfrm flipV="1">
            <a:off x="3659970" y="2008214"/>
            <a:ext cx="261812" cy="125148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89" name="Groupe 8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9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9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9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4" name="Groupe 9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0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ZoneTexte 10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033" y="2627387"/>
            <a:ext cx="318039" cy="336260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895" y="4374795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33" y="357096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258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radiation des cadres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3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8731551" y="1593381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22853" y="161150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4195" y="1068706"/>
            <a:ext cx="10971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481392" y="1055847"/>
            <a:ext cx="1276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98091" y="105584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921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544688" y="1561629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Rectangle 114"/>
          <p:cNvSpPr/>
          <p:nvPr userDrawn="1"/>
        </p:nvSpPr>
        <p:spPr bwMode="auto">
          <a:xfrm>
            <a:off x="1316596" y="3500541"/>
            <a:ext cx="12601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117" name="Straight Connector 52"/>
          <p:cNvCxnSpPr>
            <a:stCxn id="115" idx="3"/>
            <a:endCxn id="118" idx="1"/>
          </p:cNvCxnSpPr>
          <p:nvPr userDrawn="1"/>
        </p:nvCxnSpPr>
        <p:spPr bwMode="auto">
          <a:xfrm flipV="1">
            <a:off x="2576736" y="2852904"/>
            <a:ext cx="504056" cy="100763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117"/>
          <p:cNvSpPr/>
          <p:nvPr userDrawn="1"/>
        </p:nvSpPr>
        <p:spPr bwMode="auto">
          <a:xfrm>
            <a:off x="3080792" y="2564904"/>
            <a:ext cx="1171012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</a:t>
            </a:r>
          </a:p>
        </p:txBody>
      </p:sp>
      <p:sp>
        <p:nvSpPr>
          <p:cNvPr id="124" name="Rectangle 123"/>
          <p:cNvSpPr/>
          <p:nvPr userDrawn="1"/>
        </p:nvSpPr>
        <p:spPr bwMode="auto">
          <a:xfrm>
            <a:off x="4861566" y="3284542"/>
            <a:ext cx="145958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suffisance professionnell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5</a:t>
            </a:r>
          </a:p>
        </p:txBody>
      </p:sp>
      <p:sp>
        <p:nvSpPr>
          <p:cNvPr id="125" name="Rectangle 124"/>
          <p:cNvSpPr/>
          <p:nvPr userDrawn="1"/>
        </p:nvSpPr>
        <p:spPr bwMode="auto">
          <a:xfrm>
            <a:off x="4872955" y="1963372"/>
            <a:ext cx="1421239" cy="70954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suffisance professionnel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(stagiair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6</a:t>
            </a:r>
          </a:p>
        </p:txBody>
      </p:sp>
      <p:cxnSp>
        <p:nvCxnSpPr>
          <p:cNvPr id="127" name="Connecteur droit 126"/>
          <p:cNvCxnSpPr>
            <a:stCxn id="118" idx="3"/>
            <a:endCxn id="125" idx="1"/>
          </p:cNvCxnSpPr>
          <p:nvPr userDrawn="1"/>
        </p:nvCxnSpPr>
        <p:spPr bwMode="auto">
          <a:xfrm flipV="1">
            <a:off x="4251804" y="2318144"/>
            <a:ext cx="621151" cy="53476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Connecteur droit 127"/>
          <p:cNvCxnSpPr>
            <a:stCxn id="118" idx="3"/>
            <a:endCxn id="124" idx="1"/>
          </p:cNvCxnSpPr>
          <p:nvPr userDrawn="1"/>
        </p:nvCxnSpPr>
        <p:spPr bwMode="auto">
          <a:xfrm>
            <a:off x="4251804" y="2852904"/>
            <a:ext cx="609762" cy="7196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0" name="Rectangle 129"/>
          <p:cNvSpPr/>
          <p:nvPr userDrawn="1"/>
        </p:nvSpPr>
        <p:spPr bwMode="auto">
          <a:xfrm>
            <a:off x="3080792" y="4580179"/>
            <a:ext cx="3052164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voc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2</a:t>
            </a:r>
          </a:p>
        </p:txBody>
      </p:sp>
      <p:cxnSp>
        <p:nvCxnSpPr>
          <p:cNvPr id="129" name="Connecteur droit 128"/>
          <p:cNvCxnSpPr>
            <a:stCxn id="115" idx="3"/>
            <a:endCxn id="130" idx="1"/>
          </p:cNvCxnSpPr>
          <p:nvPr userDrawn="1"/>
        </p:nvCxnSpPr>
        <p:spPr bwMode="auto">
          <a:xfrm>
            <a:off x="2576736" y="3860541"/>
            <a:ext cx="504056" cy="10076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45" name="Image 4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ZoneTexte 7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1" y="3404412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4745" y="2080051"/>
            <a:ext cx="318039" cy="336260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A26100DD-7C44-431A-AF92-1719B481216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941" y="469764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4510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Masque départ retrait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55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départs à la retraite (1/2) </a:t>
            </a:r>
          </a:p>
        </p:txBody>
      </p:sp>
      <p:sp>
        <p:nvSpPr>
          <p:cNvPr id="15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7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8" name="Rectangle 157"/>
          <p:cNvSpPr/>
          <p:nvPr userDrawn="1"/>
        </p:nvSpPr>
        <p:spPr bwMode="auto">
          <a:xfrm>
            <a:off x="1081095" y="342908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épart à la retraite</a:t>
            </a:r>
          </a:p>
        </p:txBody>
      </p:sp>
      <p:cxnSp>
        <p:nvCxnSpPr>
          <p:cNvPr id="160" name="Straight Connector 52"/>
          <p:cNvCxnSpPr>
            <a:stCxn id="158" idx="3"/>
            <a:endCxn id="182" idx="1"/>
          </p:cNvCxnSpPr>
          <p:nvPr userDrawn="1"/>
        </p:nvCxnSpPr>
        <p:spPr bwMode="auto">
          <a:xfrm>
            <a:off x="2521095" y="3789080"/>
            <a:ext cx="362726" cy="72008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1" name="Rectangle 160"/>
          <p:cNvSpPr/>
          <p:nvPr userDrawn="1"/>
        </p:nvSpPr>
        <p:spPr bwMode="auto">
          <a:xfrm>
            <a:off x="2883820" y="2745004"/>
            <a:ext cx="328276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4</a:t>
            </a:r>
          </a:p>
        </p:txBody>
      </p:sp>
      <p:cxnSp>
        <p:nvCxnSpPr>
          <p:cNvPr id="162" name="Straight Connector 34"/>
          <p:cNvCxnSpPr>
            <a:stCxn id="158" idx="3"/>
            <a:endCxn id="161" idx="1"/>
          </p:cNvCxnSpPr>
          <p:nvPr userDrawn="1"/>
        </p:nvCxnSpPr>
        <p:spPr bwMode="auto">
          <a:xfrm flipV="1">
            <a:off x="2521095" y="3105004"/>
            <a:ext cx="362725" cy="68407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Rectangle 181"/>
          <p:cNvSpPr/>
          <p:nvPr userDrawn="1"/>
        </p:nvSpPr>
        <p:spPr bwMode="auto">
          <a:xfrm>
            <a:off x="2883821" y="4149160"/>
            <a:ext cx="328276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3</a:t>
            </a:r>
          </a:p>
        </p:txBody>
      </p:sp>
      <p:sp>
        <p:nvSpPr>
          <p:cNvPr id="76" name="TextBox 29"/>
          <p:cNvSpPr txBox="1"/>
          <p:nvPr userDrawn="1"/>
        </p:nvSpPr>
        <p:spPr>
          <a:xfrm>
            <a:off x="60375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8735949" y="1628849"/>
            <a:ext cx="793957" cy="361180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7432149" y="1628801"/>
            <a:ext cx="793957" cy="356439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4" name="Straight Connector 66"/>
          <p:cNvCxnSpPr/>
          <p:nvPr userDrawn="1"/>
        </p:nvCxnSpPr>
        <p:spPr bwMode="auto">
          <a:xfrm>
            <a:off x="7205485" y="1629204"/>
            <a:ext cx="0" cy="356399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68"/>
          <p:cNvCxnSpPr/>
          <p:nvPr userDrawn="1"/>
        </p:nvCxnSpPr>
        <p:spPr bwMode="auto">
          <a:xfrm flipH="1">
            <a:off x="8427548" y="1623397"/>
            <a:ext cx="33931" cy="356979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Connecteur droit 18"/>
          <p:cNvCxnSpPr>
            <a:stCxn id="158" idx="3"/>
            <a:endCxn id="158" idx="3"/>
          </p:cNvCxnSpPr>
          <p:nvPr userDrawn="1"/>
        </p:nvCxnSpPr>
        <p:spPr bwMode="auto">
          <a:xfrm>
            <a:off x="2521095" y="3789080"/>
            <a:ext cx="0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42021" y="3237188"/>
            <a:ext cx="396375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51" name="Image 5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6" name="Groupe 5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5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0" name="Groupe 7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3" name="Rectangle 8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ZoneTexte 8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8" name="Image 8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2948724"/>
            <a:ext cx="318039" cy="336260"/>
          </a:xfrm>
          <a:prstGeom prst="rect">
            <a:avLst/>
          </a:prstGeom>
        </p:spPr>
      </p:pic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4329100"/>
            <a:ext cx="318039" cy="336260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1820653" y="1699632"/>
            <a:ext cx="43659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ul 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38</a:t>
            </a:r>
          </a:p>
        </p:txBody>
      </p:sp>
      <p:pic>
        <p:nvPicPr>
          <p:cNvPr id="43" name="Image 4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188082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8253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Masque départ retraite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55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départs à la retraite (2/2) </a:t>
            </a:r>
          </a:p>
        </p:txBody>
      </p:sp>
      <p:sp>
        <p:nvSpPr>
          <p:cNvPr id="15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7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8" name="Rectangle 157"/>
          <p:cNvSpPr/>
          <p:nvPr userDrawn="1"/>
        </p:nvSpPr>
        <p:spPr bwMode="auto">
          <a:xfrm>
            <a:off x="1172740" y="3160031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épart à la retraite</a:t>
            </a:r>
          </a:p>
        </p:txBody>
      </p:sp>
      <p:sp>
        <p:nvSpPr>
          <p:cNvPr id="161" name="Rectangle 160"/>
          <p:cNvSpPr/>
          <p:nvPr userDrawn="1"/>
        </p:nvSpPr>
        <p:spPr bwMode="auto">
          <a:xfrm>
            <a:off x="2936776" y="2103213"/>
            <a:ext cx="165618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traite pour invalidité d’origine professionnelle</a:t>
            </a:r>
          </a:p>
        </p:txBody>
      </p:sp>
      <p:cxnSp>
        <p:nvCxnSpPr>
          <p:cNvPr id="162" name="Straight Connector 34"/>
          <p:cNvCxnSpPr>
            <a:stCxn id="158" idx="3"/>
            <a:endCxn id="161" idx="1"/>
          </p:cNvCxnSpPr>
          <p:nvPr userDrawn="1"/>
        </p:nvCxnSpPr>
        <p:spPr bwMode="auto">
          <a:xfrm flipV="1">
            <a:off x="2612740" y="2463213"/>
            <a:ext cx="324036" cy="105681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5997116" y="1124744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17396" y="1124744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199014" y="1201689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8695547" y="1628849"/>
            <a:ext cx="793957" cy="364852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7391747" y="1664804"/>
            <a:ext cx="793957" cy="361257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4" name="Straight Connector 66"/>
          <p:cNvCxnSpPr/>
          <p:nvPr userDrawn="1"/>
        </p:nvCxnSpPr>
        <p:spPr bwMode="auto">
          <a:xfrm>
            <a:off x="7165083" y="1304764"/>
            <a:ext cx="11594" cy="39563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68"/>
          <p:cNvCxnSpPr/>
          <p:nvPr userDrawn="1"/>
        </p:nvCxnSpPr>
        <p:spPr bwMode="auto">
          <a:xfrm>
            <a:off x="8421077" y="1623397"/>
            <a:ext cx="0" cy="39621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936776" y="4216849"/>
            <a:ext cx="165618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traite pour invalidité non imputable au service</a:t>
            </a:r>
          </a:p>
        </p:txBody>
      </p:sp>
      <p:cxnSp>
        <p:nvCxnSpPr>
          <p:cNvPr id="19" name="Connecteur droit 18"/>
          <p:cNvCxnSpPr>
            <a:stCxn id="158" idx="3"/>
            <a:endCxn id="158" idx="3"/>
          </p:cNvCxnSpPr>
          <p:nvPr userDrawn="1"/>
        </p:nvCxnSpPr>
        <p:spPr bwMode="auto">
          <a:xfrm>
            <a:off x="2612740" y="3520031"/>
            <a:ext cx="0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Connecteur droit 21"/>
          <p:cNvCxnSpPr>
            <a:stCxn id="158" idx="3"/>
            <a:endCxn id="79" idx="1"/>
          </p:cNvCxnSpPr>
          <p:nvPr userDrawn="1"/>
        </p:nvCxnSpPr>
        <p:spPr bwMode="auto">
          <a:xfrm>
            <a:off x="2612740" y="3520031"/>
            <a:ext cx="324036" cy="105681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986800" y="4689140"/>
            <a:ext cx="1057774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ES0013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916995" y="3784298"/>
            <a:ext cx="1127579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5</a:t>
            </a:r>
          </a:p>
        </p:txBody>
      </p:sp>
      <p:cxnSp>
        <p:nvCxnSpPr>
          <p:cNvPr id="40" name="Connecteur droit 39"/>
          <p:cNvCxnSpPr>
            <a:stCxn id="79" idx="3"/>
            <a:endCxn id="96" idx="1"/>
          </p:cNvCxnSpPr>
          <p:nvPr userDrawn="1"/>
        </p:nvCxnSpPr>
        <p:spPr bwMode="auto">
          <a:xfrm flipV="1">
            <a:off x="4592960" y="4054298"/>
            <a:ext cx="324035" cy="522551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necteur droit 41"/>
          <p:cNvCxnSpPr>
            <a:stCxn id="79" idx="3"/>
            <a:endCxn id="95" idx="1"/>
          </p:cNvCxnSpPr>
          <p:nvPr userDrawn="1"/>
        </p:nvCxnSpPr>
        <p:spPr bwMode="auto">
          <a:xfrm>
            <a:off x="4592960" y="4576849"/>
            <a:ext cx="393840" cy="382291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Rectangle 90"/>
          <p:cNvSpPr/>
          <p:nvPr userDrawn="1"/>
        </p:nvSpPr>
        <p:spPr bwMode="auto">
          <a:xfrm>
            <a:off x="4964575" y="2721622"/>
            <a:ext cx="1080000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4</a:t>
            </a:r>
          </a:p>
        </p:txBody>
      </p:sp>
      <p:sp>
        <p:nvSpPr>
          <p:cNvPr id="92" name="Rectangle 91"/>
          <p:cNvSpPr/>
          <p:nvPr userDrawn="1"/>
        </p:nvSpPr>
        <p:spPr bwMode="auto">
          <a:xfrm>
            <a:off x="4916995" y="1664804"/>
            <a:ext cx="1127579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6</a:t>
            </a:r>
          </a:p>
        </p:txBody>
      </p:sp>
      <p:cxnSp>
        <p:nvCxnSpPr>
          <p:cNvPr id="105" name="Connecteur droit 104"/>
          <p:cNvCxnSpPr>
            <a:stCxn id="161" idx="3"/>
            <a:endCxn id="92" idx="1"/>
          </p:cNvCxnSpPr>
          <p:nvPr userDrawn="1"/>
        </p:nvCxnSpPr>
        <p:spPr bwMode="auto">
          <a:xfrm flipV="1">
            <a:off x="4592960" y="1934804"/>
            <a:ext cx="324035" cy="5284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Connecteur droit 106"/>
          <p:cNvCxnSpPr>
            <a:stCxn id="161" idx="3"/>
            <a:endCxn id="91" idx="1"/>
          </p:cNvCxnSpPr>
          <p:nvPr userDrawn="1"/>
        </p:nvCxnSpPr>
        <p:spPr bwMode="auto">
          <a:xfrm>
            <a:off x="4592960" y="2463213"/>
            <a:ext cx="371615" cy="5284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2" name="Groupe 6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9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0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2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4" name="Rectangle 7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ZoneTexte 8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4797152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974" y="3855615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2834386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177869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28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rée fpe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6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3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52906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33737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6969224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445388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2" name="Straight Connector 68"/>
          <p:cNvCxnSpPr/>
          <p:nvPr userDrawn="1"/>
        </p:nvCxnSpPr>
        <p:spPr bwMode="auto">
          <a:xfrm>
            <a:off x="8193360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864768" y="2564904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intégration direct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9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68"/>
          <p:cNvCxnSpPr/>
          <p:nvPr userDrawn="1"/>
        </p:nvCxnSpPr>
        <p:spPr bwMode="auto">
          <a:xfrm>
            <a:off x="6897216" y="161525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19877598-0751-4D57-9C4F-10B602B02689}"/>
              </a:ext>
            </a:extLst>
          </p:cNvPr>
          <p:cNvSpPr/>
          <p:nvPr userDrawn="1"/>
        </p:nvSpPr>
        <p:spPr bwMode="auto">
          <a:xfrm>
            <a:off x="7153901" y="1622994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id="{F36CF83D-E554-4D21-82ED-B58053793C3E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404" y="272361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96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Titul f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titularisation dans la FPE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584595" y="227687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6</a:t>
            </a:r>
          </a:p>
        </p:txBody>
      </p:sp>
      <p:sp>
        <p:nvSpPr>
          <p:cNvPr id="77" name="TextBox 29"/>
          <p:cNvSpPr txBox="1"/>
          <p:nvPr userDrawn="1"/>
        </p:nvSpPr>
        <p:spPr>
          <a:xfrm>
            <a:off x="59585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329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145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711074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0727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80610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366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7" name="Groupe 4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6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38" name="Image 3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2" name="ZoneTexte 1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175" y="2468742"/>
            <a:ext cx="318039" cy="336260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2586711" y="3311400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 e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lassemen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4 (individuel)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3 (collectif)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2573965" y="447319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 contractuel_art.L352-4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2</a:t>
            </a: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8" y="3525282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7" y="471567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495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lass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actes de classement et reclassement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099227" y="354127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3264898" y="2755147"/>
            <a:ext cx="2880000" cy="6093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Intégration_Reclassemen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suit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à invalidité / inaptitude physique par détachement – intégr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20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4" name="Straight Connector 34"/>
          <p:cNvCxnSpPr>
            <a:stCxn id="43" idx="3"/>
            <a:endCxn id="53" idx="1"/>
          </p:cNvCxnSpPr>
          <p:nvPr userDrawn="1"/>
        </p:nvCxnSpPr>
        <p:spPr bwMode="auto">
          <a:xfrm flipV="1">
            <a:off x="2539227" y="3059817"/>
            <a:ext cx="725671" cy="8414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Box 29"/>
          <p:cNvSpPr txBox="1"/>
          <p:nvPr userDrawn="1"/>
        </p:nvSpPr>
        <p:spPr>
          <a:xfrm>
            <a:off x="59585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329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145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711074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07274" y="1628801"/>
            <a:ext cx="793957" cy="250882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80610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366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1136576" y="173681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240204" y="1639087"/>
            <a:ext cx="2880000" cy="4385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  suite à avancement de grad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2</a:t>
            </a:r>
          </a:p>
        </p:txBody>
      </p:sp>
      <p:cxnSp>
        <p:nvCxnSpPr>
          <p:cNvPr id="312932" name="Connecteur droit 312931"/>
          <p:cNvCxnSpPr>
            <a:stCxn id="74" idx="3"/>
            <a:endCxn id="75" idx="1"/>
          </p:cNvCxnSpPr>
          <p:nvPr userDrawn="1"/>
        </p:nvCxnSpPr>
        <p:spPr bwMode="auto">
          <a:xfrm flipV="1">
            <a:off x="2576576" y="1858357"/>
            <a:ext cx="663628" cy="2384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57156" y="5792852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775" y="6022353"/>
            <a:ext cx="362413" cy="362413"/>
          </a:xfrm>
          <a:prstGeom prst="rect">
            <a:avLst/>
          </a:prstGeom>
        </p:spPr>
      </p:pic>
      <p:grpSp>
        <p:nvGrpSpPr>
          <p:cNvPr id="59" name="Groupe 58"/>
          <p:cNvGrpSpPr/>
          <p:nvPr userDrawn="1"/>
        </p:nvGrpSpPr>
        <p:grpSpPr>
          <a:xfrm>
            <a:off x="6223389" y="6242136"/>
            <a:ext cx="2624809" cy="272288"/>
            <a:chOff x="5786383" y="6231640"/>
            <a:chExt cx="2624809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86383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7216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4" name="TextBox 60"/>
          <p:cNvSpPr txBox="1"/>
          <p:nvPr/>
        </p:nvSpPr>
        <p:spPr>
          <a:xfrm>
            <a:off x="6707206" y="6444928"/>
            <a:ext cx="2139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cte à produire</a:t>
            </a:r>
          </a:p>
        </p:txBody>
      </p:sp>
      <p:sp>
        <p:nvSpPr>
          <p:cNvPr id="44" name="Rectangle 43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3260752" y="3664930"/>
            <a:ext cx="2880000" cy="4726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 suite à invalidité / inaptitude physique par détachement – réintégr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9</a:t>
            </a:r>
          </a:p>
        </p:txBody>
      </p:sp>
      <p:cxnSp>
        <p:nvCxnSpPr>
          <p:cNvPr id="49" name="Straight Connector 34"/>
          <p:cNvCxnSpPr>
            <a:stCxn id="43" idx="3"/>
            <a:endCxn id="48" idx="1"/>
          </p:cNvCxnSpPr>
          <p:nvPr userDrawn="1"/>
        </p:nvCxnSpPr>
        <p:spPr bwMode="auto">
          <a:xfrm>
            <a:off x="2539227" y="3901277"/>
            <a:ext cx="72152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>
            <a:off x="3319589" y="4432469"/>
            <a:ext cx="2880000" cy="68871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 suite à invalidit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/ inaptitude physique par détachemen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7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8</a:t>
            </a:r>
          </a:p>
        </p:txBody>
      </p:sp>
      <p:cxnSp>
        <p:nvCxnSpPr>
          <p:cNvPr id="51" name="Straight Connector 34"/>
          <p:cNvCxnSpPr>
            <a:stCxn id="43" idx="3"/>
            <a:endCxn id="50" idx="1"/>
          </p:cNvCxnSpPr>
          <p:nvPr userDrawn="1"/>
        </p:nvCxnSpPr>
        <p:spPr bwMode="auto">
          <a:xfrm>
            <a:off x="2539227" y="3901277"/>
            <a:ext cx="780362" cy="87555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5" name="Image 6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71" name="Rectangle 70"/>
          <p:cNvSpPr/>
          <p:nvPr userDrawn="1"/>
        </p:nvSpPr>
        <p:spPr bwMode="auto">
          <a:xfrm>
            <a:off x="3260752" y="2175877"/>
            <a:ext cx="2880000" cy="4385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 suite à changement de corp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23</a:t>
            </a:r>
          </a:p>
        </p:txBody>
      </p:sp>
      <p:cxnSp>
        <p:nvCxnSpPr>
          <p:cNvPr id="73" name="Connecteur droit 72"/>
          <p:cNvCxnSpPr>
            <a:stCxn id="74" idx="3"/>
            <a:endCxn id="71" idx="1"/>
          </p:cNvCxnSpPr>
          <p:nvPr userDrawn="1"/>
        </p:nvCxnSpPr>
        <p:spPr bwMode="auto">
          <a:xfrm>
            <a:off x="2576576" y="2096812"/>
            <a:ext cx="684176" cy="2983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58"/>
          <p:cNvSpPr txBox="1"/>
          <p:nvPr userDrawn="1"/>
        </p:nvSpPr>
        <p:spPr>
          <a:xfrm>
            <a:off x="671719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0" name="TextBox 58"/>
          <p:cNvSpPr txBox="1"/>
          <p:nvPr userDrawn="1"/>
        </p:nvSpPr>
        <p:spPr>
          <a:xfrm>
            <a:off x="6698775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ZoneTexte 82"/>
          <p:cNvSpPr txBox="1"/>
          <p:nvPr userDrawn="1"/>
        </p:nvSpPr>
        <p:spPr>
          <a:xfrm>
            <a:off x="6717196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5" name="TextBox 64"/>
          <p:cNvSpPr txBox="1"/>
          <p:nvPr userDrawn="1"/>
        </p:nvSpPr>
        <p:spPr>
          <a:xfrm>
            <a:off x="6258881" y="5210369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2939710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62" y="2201749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1714485"/>
            <a:ext cx="318039" cy="336260"/>
          </a:xfrm>
          <a:prstGeom prst="rect">
            <a:avLst/>
          </a:prstGeom>
        </p:spPr>
      </p:pic>
      <p:pic>
        <p:nvPicPr>
          <p:cNvPr id="58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71568" y="6523557"/>
            <a:ext cx="201612" cy="14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62" y="3740812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4615454"/>
            <a:ext cx="318039" cy="336260"/>
          </a:xfrm>
          <a:prstGeom prst="rect">
            <a:avLst/>
          </a:prstGeom>
        </p:spPr>
      </p:pic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841" y="459961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54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avct échelon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4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0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1" name="Rectangle 150"/>
          <p:cNvSpPr/>
          <p:nvPr userDrawn="1"/>
        </p:nvSpPr>
        <p:spPr bwMode="auto">
          <a:xfrm>
            <a:off x="992560" y="2240868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’échelon</a:t>
            </a:r>
          </a:p>
        </p:txBody>
      </p:sp>
      <p:sp>
        <p:nvSpPr>
          <p:cNvPr id="153" name="Rectangle 152"/>
          <p:cNvSpPr/>
          <p:nvPr userDrawn="1"/>
        </p:nvSpPr>
        <p:spPr bwMode="auto">
          <a:xfrm>
            <a:off x="3462122" y="2240868"/>
            <a:ext cx="250822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 un emploi fonctionn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0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54" name="Straight Connector 34"/>
          <p:cNvCxnSpPr>
            <a:stCxn id="151" idx="3"/>
            <a:endCxn id="153" idx="1"/>
          </p:cNvCxnSpPr>
          <p:nvPr userDrawn="1"/>
        </p:nvCxnSpPr>
        <p:spPr bwMode="auto">
          <a:xfrm>
            <a:off x="2792760" y="2528868"/>
            <a:ext cx="669362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3" name="Title 2"/>
          <p:cNvSpPr txBox="1">
            <a:spLocks/>
          </p:cNvSpPr>
          <p:nvPr userDrawn="1"/>
        </p:nvSpPr>
        <p:spPr bwMode="gray">
          <a:xfrm>
            <a:off x="425480" y="260647"/>
            <a:ext cx="9061450" cy="7557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’échelon et </a:t>
            </a:r>
          </a:p>
          <a:p>
            <a:pPr eaLnBrk="1" hangingPunct="1"/>
            <a:r>
              <a:rPr lang="fr-FR" sz="1800" kern="0" dirty="0"/>
              <a:t>du</a:t>
            </a:r>
            <a:r>
              <a:rPr lang="fr-FR" sz="1800" kern="0" baseline="0" dirty="0"/>
              <a:t> Reclassement hors promotion</a:t>
            </a:r>
            <a:endParaRPr lang="fr-FR" sz="1800" kern="0" dirty="0"/>
          </a:p>
        </p:txBody>
      </p:sp>
      <p:sp>
        <p:nvSpPr>
          <p:cNvPr id="66" name="TextBox 29"/>
          <p:cNvSpPr txBox="1"/>
          <p:nvPr userDrawn="1"/>
        </p:nvSpPr>
        <p:spPr>
          <a:xfrm>
            <a:off x="59703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447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263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8722874" y="1628848"/>
            <a:ext cx="793957" cy="33855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7419074" y="1628802"/>
            <a:ext cx="793957" cy="339063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2" name="Straight Connector 66"/>
          <p:cNvCxnSpPr/>
          <p:nvPr userDrawn="1"/>
        </p:nvCxnSpPr>
        <p:spPr bwMode="auto">
          <a:xfrm>
            <a:off x="7192410" y="1629204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68"/>
          <p:cNvCxnSpPr/>
          <p:nvPr userDrawn="1"/>
        </p:nvCxnSpPr>
        <p:spPr bwMode="auto">
          <a:xfrm>
            <a:off x="8448404" y="1623397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3471226" y="4646936"/>
            <a:ext cx="2499121" cy="72628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lassement_chgt_corpsOUgrade_hors_promotion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6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individuel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38 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3440831" y="1577009"/>
            <a:ext cx="252951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ans un corps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03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471226" y="3645088"/>
            <a:ext cx="2499121" cy="7575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lassement_dans_grade_hors_promotion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5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individuel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7 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" name="Connecteur droit 5"/>
          <p:cNvCxnSpPr>
            <a:stCxn id="151" idx="3"/>
            <a:endCxn id="65" idx="1"/>
          </p:cNvCxnSpPr>
          <p:nvPr userDrawn="1"/>
        </p:nvCxnSpPr>
        <p:spPr bwMode="auto">
          <a:xfrm flipV="1">
            <a:off x="2792760" y="1865009"/>
            <a:ext cx="648071" cy="6638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Connecteur droit 7"/>
          <p:cNvCxnSpPr>
            <a:stCxn id="55" idx="3"/>
            <a:endCxn id="69" idx="1"/>
          </p:cNvCxnSpPr>
          <p:nvPr userDrawn="1"/>
        </p:nvCxnSpPr>
        <p:spPr bwMode="auto">
          <a:xfrm flipV="1">
            <a:off x="2792760" y="4023864"/>
            <a:ext cx="678466" cy="44928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eur droit 11"/>
          <p:cNvCxnSpPr>
            <a:stCxn id="55" idx="3"/>
            <a:endCxn id="64" idx="1"/>
          </p:cNvCxnSpPr>
          <p:nvPr userDrawn="1"/>
        </p:nvCxnSpPr>
        <p:spPr bwMode="auto">
          <a:xfrm>
            <a:off x="2792760" y="4473148"/>
            <a:ext cx="678466" cy="53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6090923"/>
            <a:ext cx="362413" cy="362413"/>
          </a:xfrm>
          <a:prstGeom prst="rect">
            <a:avLst/>
          </a:prstGeom>
        </p:spPr>
      </p:pic>
      <p:sp>
        <p:nvSpPr>
          <p:cNvPr id="45" name="TextBox 58"/>
          <p:cNvSpPr txBox="1"/>
          <p:nvPr userDrawn="1"/>
        </p:nvSpPr>
        <p:spPr>
          <a:xfrm>
            <a:off x="6825208" y="6099103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6" name="Groupe 45"/>
          <p:cNvGrpSpPr/>
          <p:nvPr userDrawn="1"/>
        </p:nvGrpSpPr>
        <p:grpSpPr>
          <a:xfrm>
            <a:off x="6368169" y="6315126"/>
            <a:ext cx="2596066" cy="246222"/>
            <a:chOff x="5727309" y="6347218"/>
            <a:chExt cx="2596066" cy="309782"/>
          </a:xfrm>
        </p:grpSpPr>
        <p:sp>
          <p:nvSpPr>
            <p:cNvPr id="47" name="TextBox 54"/>
            <p:cNvSpPr txBox="1"/>
            <p:nvPr/>
          </p:nvSpPr>
          <p:spPr>
            <a:xfrm>
              <a:off x="5727309" y="6374210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184348" y="6347218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49" name="Groupe 48"/>
          <p:cNvGrpSpPr/>
          <p:nvPr userDrawn="1"/>
        </p:nvGrpSpPr>
        <p:grpSpPr>
          <a:xfrm>
            <a:off x="6482648" y="6532801"/>
            <a:ext cx="2385107" cy="205373"/>
            <a:chOff x="6108241" y="6482036"/>
            <a:chExt cx="2481586" cy="316030"/>
          </a:xfrm>
        </p:grpSpPr>
        <p:pic>
          <p:nvPicPr>
            <p:cNvPr id="5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TextBox 60"/>
            <p:cNvSpPr txBox="1"/>
            <p:nvPr/>
          </p:nvSpPr>
          <p:spPr>
            <a:xfrm>
              <a:off x="6450800" y="64820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2" name="Rectangle 51"/>
          <p:cNvSpPr/>
          <p:nvPr userDrawn="1"/>
        </p:nvSpPr>
        <p:spPr bwMode="auto">
          <a:xfrm>
            <a:off x="6274206" y="5582236"/>
            <a:ext cx="2854029" cy="1220189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48414" y="590971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/>
          <p:cNvSpPr/>
          <p:nvPr userDrawn="1"/>
        </p:nvSpPr>
        <p:spPr bwMode="auto">
          <a:xfrm>
            <a:off x="3442368" y="2888940"/>
            <a:ext cx="252797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ollectif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1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4" name="Connecteur droit 23"/>
          <p:cNvCxnSpPr>
            <a:stCxn id="151" idx="3"/>
            <a:endCxn id="57" idx="1"/>
          </p:cNvCxnSpPr>
          <p:nvPr userDrawn="1"/>
        </p:nvCxnSpPr>
        <p:spPr bwMode="auto">
          <a:xfrm>
            <a:off x="2792760" y="2528868"/>
            <a:ext cx="649608" cy="648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Rectangle 59"/>
          <p:cNvSpPr/>
          <p:nvPr userDrawn="1"/>
        </p:nvSpPr>
        <p:spPr bwMode="auto">
          <a:xfrm rot="16200000">
            <a:off x="-1423923" y="3187121"/>
            <a:ext cx="39402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73" name="Image 72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6809952" y="5878312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ZoneTexte 61"/>
          <p:cNvSpPr txBox="1"/>
          <p:nvPr userDrawn="1"/>
        </p:nvSpPr>
        <p:spPr>
          <a:xfrm>
            <a:off x="6818548" y="5627549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4" y="2387420"/>
            <a:ext cx="318039" cy="336260"/>
          </a:xfrm>
          <a:prstGeom prst="rect">
            <a:avLst/>
          </a:prstGeom>
        </p:spPr>
      </p:pic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351" y="1753214"/>
            <a:ext cx="318039" cy="336260"/>
          </a:xfrm>
          <a:prstGeom prst="rect">
            <a:avLst/>
          </a:prstGeom>
        </p:spPr>
      </p:pic>
      <p:sp>
        <p:nvSpPr>
          <p:cNvPr id="53" name="TextBox 64"/>
          <p:cNvSpPr txBox="1"/>
          <p:nvPr userDrawn="1"/>
        </p:nvSpPr>
        <p:spPr>
          <a:xfrm>
            <a:off x="6141132" y="537321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5589240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992560" y="4185148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Reclassement hors promotion</a:t>
            </a: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8537" y="3857514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3" y="3021736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2" y="486441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15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5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" name="think-cell Slide" r:id="rId59" imgW="360" imgH="360" progId="">
                  <p:embed/>
                </p:oleObj>
              </mc:Choice>
              <mc:Fallback>
                <p:oleObj name="think-cell Slide" r:id="rId59" imgW="360" imgH="360" progId="">
                  <p:embed/>
                  <p:pic>
                    <p:nvPicPr>
                      <p:cNvPr id="0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0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6" r:id="rId2"/>
    <p:sldLayoutId id="2147487397" r:id="rId3"/>
    <p:sldLayoutId id="2147487399" r:id="rId4"/>
    <p:sldLayoutId id="2147487444" r:id="rId5"/>
    <p:sldLayoutId id="2147487449" r:id="rId6"/>
    <p:sldLayoutId id="2147487398" r:id="rId7"/>
    <p:sldLayoutId id="2147487400" r:id="rId8"/>
    <p:sldLayoutId id="2147487401" r:id="rId9"/>
    <p:sldLayoutId id="2147487445" r:id="rId10"/>
    <p:sldLayoutId id="2147487402" r:id="rId11"/>
    <p:sldLayoutId id="2147487403" r:id="rId12"/>
    <p:sldLayoutId id="2147487404" r:id="rId13"/>
    <p:sldLayoutId id="2147487405" r:id="rId14"/>
    <p:sldLayoutId id="2147487450" r:id="rId15"/>
    <p:sldLayoutId id="2147487433" r:id="rId16"/>
    <p:sldLayoutId id="2147487442" r:id="rId17"/>
    <p:sldLayoutId id="2147487451" r:id="rId18"/>
    <p:sldLayoutId id="2147487406" r:id="rId19"/>
    <p:sldLayoutId id="2147487448" r:id="rId20"/>
    <p:sldLayoutId id="2147487441" r:id="rId21"/>
    <p:sldLayoutId id="2147487407" r:id="rId22"/>
    <p:sldLayoutId id="2147487408" r:id="rId23"/>
    <p:sldLayoutId id="2147487439" r:id="rId24"/>
    <p:sldLayoutId id="2147487434" r:id="rId25"/>
    <p:sldLayoutId id="2147487409" r:id="rId26"/>
    <p:sldLayoutId id="2147487443" r:id="rId27"/>
    <p:sldLayoutId id="2147487446" r:id="rId28"/>
    <p:sldLayoutId id="2147487410" r:id="rId29"/>
    <p:sldLayoutId id="2147487412" r:id="rId30"/>
    <p:sldLayoutId id="2147487411" r:id="rId31"/>
    <p:sldLayoutId id="2147487413" r:id="rId32"/>
    <p:sldLayoutId id="2147487414" r:id="rId33"/>
    <p:sldLayoutId id="2147487435" r:id="rId34"/>
    <p:sldLayoutId id="2147487415" r:id="rId35"/>
    <p:sldLayoutId id="2147487416" r:id="rId36"/>
    <p:sldLayoutId id="2147487417" r:id="rId37"/>
    <p:sldLayoutId id="2147487418" r:id="rId38"/>
    <p:sldLayoutId id="2147487419" r:id="rId39"/>
    <p:sldLayoutId id="2147487447" r:id="rId40"/>
    <p:sldLayoutId id="2147487440" r:id="rId41"/>
    <p:sldLayoutId id="2147487420" r:id="rId42"/>
    <p:sldLayoutId id="2147487421" r:id="rId43"/>
    <p:sldLayoutId id="2147487422" r:id="rId44"/>
    <p:sldLayoutId id="2147487423" r:id="rId45"/>
    <p:sldLayoutId id="2147487424" r:id="rId46"/>
    <p:sldLayoutId id="2147487425" r:id="rId47"/>
    <p:sldLayoutId id="2147487426" r:id="rId48"/>
    <p:sldLayoutId id="2147487427" r:id="rId49"/>
    <p:sldLayoutId id="2147487428" r:id="rId50"/>
    <p:sldLayoutId id="2147487429" r:id="rId51"/>
    <p:sldLayoutId id="2147487437" r:id="rId52"/>
    <p:sldLayoutId id="2147487430" r:id="rId53"/>
    <p:sldLayoutId id="2147487438" r:id="rId54"/>
    <p:sldLayoutId id="2147487432" r:id="rId5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elig.le-grand@finances.gouv.fr" TargetMode="External"/><Relationship Id="rId7" Type="http://schemas.openxmlformats.org/officeDocument/2006/relationships/image" Target="../media/image21.png"/><Relationship Id="rId2" Type="http://schemas.openxmlformats.org/officeDocument/2006/relationships/hyperlink" Target="mailto:virginie.lentignac@finances.gouv.fr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hyperlink" Target="mailto:L-CISIRH&#8212;BARRI-BDA@finances.gouv.fr" TargetMode="External"/><Relationship Id="rId4" Type="http://schemas.openxmlformats.org/officeDocument/2006/relationships/hyperlink" Target="mailto:marwa.moussif@finances.gouv.fr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pissarho.cisirh.rie.gouv.fr/fonds-documentaire/open-rh-fpe/gestion-administrative" TargetMode="External"/><Relationship Id="rId3" Type="http://schemas.openxmlformats.org/officeDocument/2006/relationships/image" Target="../media/image23.png"/><Relationship Id="rId7" Type="http://schemas.openxmlformats.org/officeDocument/2006/relationships/hyperlink" Target="https://hopper.cisirh.budget.gouv.fr/BdA" TargetMode="External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tmp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ctrTitle"/>
          </p:nvPr>
        </p:nvSpPr>
        <p:spPr>
          <a:xfrm>
            <a:off x="3521075" y="620688"/>
            <a:ext cx="5032375" cy="1295400"/>
          </a:xfrm>
        </p:spPr>
        <p:txBody>
          <a:bodyPr/>
          <a:lstStyle/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altLang="fr-FR" b="0" i="1" dirty="0"/>
          </a:p>
        </p:txBody>
      </p:sp>
      <p:sp>
        <p:nvSpPr>
          <p:cNvPr id="52227" name="Subtitle 2"/>
          <p:cNvSpPr>
            <a:spLocks noGrp="1"/>
          </p:cNvSpPr>
          <p:nvPr>
            <p:ph type="subTitle" idx="1"/>
          </p:nvPr>
        </p:nvSpPr>
        <p:spPr>
          <a:xfrm>
            <a:off x="2504728" y="1484784"/>
            <a:ext cx="6048722" cy="1836204"/>
          </a:xfrm>
        </p:spPr>
        <p:txBody>
          <a:bodyPr/>
          <a:lstStyle/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Parcours de l’agent fonctionnaire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Version 24.00.00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dirty="0">
                <a:ea typeface="ＭＳ Ｐゴシック"/>
              </a:rPr>
              <a:t>/07/2024</a:t>
            </a:r>
          </a:p>
          <a:p>
            <a:endParaRPr lang="fr-FR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93142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7672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158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663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64936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8878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981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598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4256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4314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84379938-8EE9-463E-ACB2-E8753203C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69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687" y="3717032"/>
            <a:ext cx="7706801" cy="310558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exte et objectifs du docu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1736989" y="1124744"/>
            <a:ext cx="7740860" cy="4465637"/>
          </a:xfrm>
        </p:spPr>
        <p:txBody>
          <a:bodyPr/>
          <a:lstStyle/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altLang="fr-FR" dirty="0">
                <a:solidFill>
                  <a:srgbClr val="002060"/>
                </a:solidFill>
              </a:rPr>
              <a:t>Dans le cadre du projet d’appui à la modernisation de la fonction RH, l</a:t>
            </a:r>
            <a:r>
              <a:rPr lang="fr-FR" dirty="0">
                <a:solidFill>
                  <a:srgbClr val="002060"/>
                </a:solidFill>
              </a:rPr>
              <a:t>e COPIL métier du 8 octobre 2014 a décidé </a:t>
            </a:r>
            <a:r>
              <a:rPr lang="fr-FR" b="1" dirty="0">
                <a:solidFill>
                  <a:srgbClr val="002060"/>
                </a:solidFill>
              </a:rPr>
              <a:t>d’initier</a:t>
            </a:r>
            <a:r>
              <a:rPr lang="fr-FR" altLang="fr-FR" b="1" dirty="0">
                <a:solidFill>
                  <a:srgbClr val="002060"/>
                </a:solidFill>
              </a:rPr>
              <a:t> un groupe de travail afin de constituer la bibliothèque des actes administratifs</a:t>
            </a:r>
            <a:r>
              <a:rPr lang="fr-FR" altLang="fr-FR" dirty="0">
                <a:solidFill>
                  <a:srgbClr val="002060"/>
                </a:solidFill>
              </a:rPr>
              <a:t>. Cette démarche a été, dans un premier temps, </a:t>
            </a:r>
            <a:r>
              <a:rPr lang="fr-FR" dirty="0">
                <a:solidFill>
                  <a:srgbClr val="002060"/>
                </a:solidFill>
              </a:rPr>
              <a:t>initiée avec les ministères clients de RenoiRH, ces derniers disposant déjà d’un cadre de travail bien établi avec le CISIRH. 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Le groupe de travail bénéficie de la participation permanente de la DGAFP, du bureau CE-2A de la DGFIP et de la validation du SRE.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Représenter de manière logique et structurée l’état des lieux de la production des modèles d’actes administratifs</a:t>
            </a:r>
            <a:r>
              <a:rPr lang="fr-FR" i="1" dirty="0">
                <a:solidFill>
                  <a:srgbClr val="002060"/>
                </a:solidFill>
              </a:rPr>
              <a:t>.</a:t>
            </a:r>
          </a:p>
          <a:p>
            <a:pPr marL="0" indent="0" algn="just">
              <a:spcBef>
                <a:spcPts val="1200"/>
              </a:spcBef>
              <a:buClr>
                <a:srgbClr val="002060"/>
              </a:buClr>
              <a:buNone/>
              <a:defRPr/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Pentagon 5"/>
          <p:cNvSpPr/>
          <p:nvPr/>
        </p:nvSpPr>
        <p:spPr bwMode="auto">
          <a:xfrm>
            <a:off x="343916" y="1592796"/>
            <a:ext cx="1404728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ontexte</a:t>
            </a:r>
          </a:p>
        </p:txBody>
      </p:sp>
      <p:sp>
        <p:nvSpPr>
          <p:cNvPr id="9" name="Pentagon 5"/>
          <p:cNvSpPr/>
          <p:nvPr/>
        </p:nvSpPr>
        <p:spPr bwMode="auto">
          <a:xfrm>
            <a:off x="308484" y="3140968"/>
            <a:ext cx="1512740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Objectifs</a:t>
            </a:r>
          </a:p>
        </p:txBody>
      </p:sp>
      <p:pic>
        <p:nvPicPr>
          <p:cNvPr id="8" name="Image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681038" y="3571677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21282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75350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5698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FACEECE-4E59-43A6-A880-C7F46040F2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78891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78935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93004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87170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198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762BA01-3D12-433C-87F2-454DF7DD36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87462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4604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151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dirty="0"/>
              <a:t>Mise à jour du document et contacts</a:t>
            </a:r>
            <a:endParaRPr lang="fr-FR" altLang="fr-FR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idx="1"/>
          </p:nvPr>
        </p:nvSpPr>
        <p:spPr>
          <a:xfrm>
            <a:off x="2108684" y="1196752"/>
            <a:ext cx="7381392" cy="3492388"/>
          </a:xfrm>
        </p:spPr>
        <p:txBody>
          <a:bodyPr/>
          <a:lstStyle/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Le document sera mis à jour en suivant le rythme de publication du Noyau RH FPE en fonction :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 la </a:t>
            </a:r>
            <a:r>
              <a:rPr lang="fr-FR" sz="1200" b="1" i="1" dirty="0">
                <a:solidFill>
                  <a:srgbClr val="002060"/>
                </a:solidFill>
              </a:rPr>
              <a:t>veille juridique </a:t>
            </a:r>
            <a:r>
              <a:rPr lang="fr-FR" sz="1200" i="1" dirty="0">
                <a:solidFill>
                  <a:srgbClr val="002060"/>
                </a:solidFill>
              </a:rPr>
              <a:t>(nouveaux textes impactant les modèles d’actes) ;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s </a:t>
            </a:r>
            <a:r>
              <a:rPr lang="fr-FR" sz="1200" b="1" i="1" dirty="0">
                <a:solidFill>
                  <a:srgbClr val="002060"/>
                </a:solidFill>
              </a:rPr>
              <a:t>modèles validés dans le cadre des GT </a:t>
            </a:r>
            <a:r>
              <a:rPr lang="fr-FR" sz="1200" i="1" dirty="0">
                <a:solidFill>
                  <a:srgbClr val="002060"/>
                </a:solidFill>
              </a:rPr>
              <a:t>interministériels bibliothèque des actes et </a:t>
            </a:r>
            <a:r>
              <a:rPr lang="fr-FR" sz="1200" b="1" i="1" dirty="0">
                <a:solidFill>
                  <a:srgbClr val="002060"/>
                </a:solidFill>
              </a:rPr>
              <a:t>via</a:t>
            </a:r>
            <a:r>
              <a:rPr lang="fr-FR" sz="1200" i="1" dirty="0">
                <a:solidFill>
                  <a:srgbClr val="002060"/>
                </a:solidFill>
              </a:rPr>
              <a:t> </a:t>
            </a:r>
            <a:r>
              <a:rPr lang="fr-FR" sz="1200" b="1" i="1" dirty="0">
                <a:solidFill>
                  <a:srgbClr val="002060"/>
                </a:solidFill>
              </a:rPr>
              <a:t>l’espace de validation à distance des ministres: l’espace collaboratif </a:t>
            </a:r>
            <a:r>
              <a:rPr lang="fr-FR" sz="1200" b="1" i="1" dirty="0" err="1">
                <a:solidFill>
                  <a:srgbClr val="002060"/>
                </a:solidFill>
              </a:rPr>
              <a:t>hOPPER</a:t>
            </a:r>
            <a:r>
              <a:rPr lang="fr-FR" sz="1200" b="1" i="1" dirty="0">
                <a:solidFill>
                  <a:srgbClr val="002060"/>
                </a:solidFill>
              </a:rPr>
              <a:t>.</a:t>
            </a:r>
          </a:p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A noter que la publication d’un texte impactant les modèles d’actes ne peut pas être prise en compte immédiatement. A ce titre, il est nécessaire d’être vigilant lors de la publication de nouveaux textes et d’attendre une nouvelle version du présent document.</a:t>
            </a: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  <a:p>
            <a:pPr marL="174625" indent="-174625">
              <a:spcBef>
                <a:spcPts val="1200"/>
              </a:spcBef>
            </a:pPr>
            <a:r>
              <a:rPr lang="fr-FR" sz="1200" b="1" i="1" dirty="0">
                <a:solidFill>
                  <a:srgbClr val="002060"/>
                </a:solidFill>
              </a:rPr>
              <a:t>Bureau de l’Analyse Réglementaire et des Référentiels Interministériels / Pôle Simplification et Veille Réglementaire :</a:t>
            </a: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ginie </a:t>
            </a:r>
            <a:r>
              <a:rPr lang="fr-FR" sz="1200" b="1" i="1" dirty="0">
                <a:solidFill>
                  <a:srgbClr val="1F3B73"/>
                </a:solidFill>
              </a:rPr>
              <a:t>LENTIGNAC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virginie.lentignac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ig LE GRAND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kelig.le-grand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wa MOUSSIF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arwa.moussif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</a:rPr>
              <a:t>BALF : </a:t>
            </a:r>
            <a:r>
              <a:rPr lang="fr-FR" sz="1200" b="1" i="1" dirty="0">
                <a:solidFill>
                  <a:srgbClr val="002060"/>
                </a:solidFill>
                <a:hlinkClick r:id="rId5"/>
              </a:rPr>
              <a:t>L-CISIRH-BARRI-BDA@finances.gouv.fr</a:t>
            </a:r>
            <a:endParaRPr lang="fr-FR" sz="1200" b="1" i="1" dirty="0">
              <a:solidFill>
                <a:srgbClr val="002060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</p:txBody>
      </p:sp>
      <p:sp>
        <p:nvSpPr>
          <p:cNvPr id="5" name="Pentagon 5"/>
          <p:cNvSpPr/>
          <p:nvPr/>
        </p:nvSpPr>
        <p:spPr bwMode="auto">
          <a:xfrm>
            <a:off x="437861" y="1643895"/>
            <a:ext cx="1548172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ise à jour du document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640" y="2492896"/>
            <a:ext cx="454599" cy="520810"/>
          </a:xfrm>
          <a:prstGeom prst="rect">
            <a:avLst/>
          </a:prstGeom>
        </p:spPr>
      </p:pic>
      <p:sp>
        <p:nvSpPr>
          <p:cNvPr id="7" name="Pentagone 6"/>
          <p:cNvSpPr/>
          <p:nvPr/>
        </p:nvSpPr>
        <p:spPr bwMode="auto">
          <a:xfrm>
            <a:off x="428626" y="3645024"/>
            <a:ext cx="1557407" cy="612068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84" y="3783367"/>
            <a:ext cx="1191208" cy="3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727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409275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114927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41586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88693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12773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68492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06693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10148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69607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0660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557019" y="1039493"/>
            <a:ext cx="8772848" cy="1309387"/>
          </a:xfrm>
        </p:spPr>
        <p:txBody>
          <a:bodyPr/>
          <a:lstStyle/>
          <a:p>
            <a:pPr marL="268287" lvl="1" indent="0">
              <a:spcAft>
                <a:spcPts val="0"/>
              </a:spcAft>
              <a:buNone/>
            </a:pPr>
            <a:endParaRPr lang="fr-FR" b="1" dirty="0"/>
          </a:p>
          <a:p>
            <a:r>
              <a:rPr lang="fr-FR" b="1" dirty="0"/>
              <a:t>Le congé CITIS substitue certains actes </a:t>
            </a:r>
            <a:r>
              <a:rPr lang="fr-FR" dirty="0"/>
              <a:t>de la bibliothèque des actes (pour la population Titulaires) répertoriés ci-dessous 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endParaRPr lang="fr-FR" b="1" dirty="0"/>
          </a:p>
          <a:p>
            <a:pPr marL="268287" lvl="1" indent="0">
              <a:buNone/>
            </a:pPr>
            <a:endParaRPr lang="fr-FR" b="1" dirty="0"/>
          </a:p>
          <a:p>
            <a:pPr lvl="1"/>
            <a:endParaRPr lang="fr-FR" b="1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 (1/2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788552"/>
              </p:ext>
            </p:extLst>
          </p:nvPr>
        </p:nvGraphicFramePr>
        <p:xfrm>
          <a:off x="1603856" y="2816932"/>
          <a:ext cx="6305741" cy="19166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9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Code nature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Libellé de l'acte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63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_ initial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44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77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>
                          <a:effectLst/>
                        </a:rPr>
                        <a:t>CLM fractionné pathologie contr dans exerc fnct initial (T)</a:t>
                      </a:r>
                      <a:endParaRPr lang="fr-FR" sz="100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78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2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3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renouvellement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4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1 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688907" y="5690436"/>
            <a:ext cx="86409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>
                <a:solidFill>
                  <a:srgbClr val="1F3B73"/>
                </a:solidFill>
                <a:latin typeface="Arial (Corps)"/>
              </a:rPr>
              <a:t>NB : </a:t>
            </a:r>
            <a:r>
              <a:rPr lang="fr-FR" sz="1000" dirty="0">
                <a:solidFill>
                  <a:srgbClr val="1F3B73"/>
                </a:solidFill>
                <a:latin typeface="Arial (Corps)"/>
              </a:rPr>
              <a:t>Cependant, ces actes demeurent valables si la décision du comité médical est antérieure à la date du 24 février 2019, date d’entrée en vigueur du décret n° 2019-122 du 21 février 2019 relatif au congé pour invalidité temporaire imputable au service dans la Fonction publique de l'Etat.</a:t>
            </a:r>
          </a:p>
          <a:p>
            <a:endParaRPr lang="fr-FR" sz="1000" b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33" y="1124744"/>
            <a:ext cx="256786" cy="25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0887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29892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5717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18293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4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46962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62465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99506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563281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98687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440417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3503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28626" y="1124744"/>
            <a:ext cx="9161523" cy="2484747"/>
          </a:xfr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b="1" dirty="0"/>
          </a:p>
          <a:p>
            <a:pPr marL="268287" lvl="1" indent="0">
              <a:buNone/>
            </a:pPr>
            <a:endParaRPr lang="fr-FR" b="1" dirty="0"/>
          </a:p>
          <a:p>
            <a:pPr lvl="1"/>
            <a:endParaRPr lang="fr-FR" b="1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 (2/2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33" y="1139868"/>
            <a:ext cx="256786" cy="257783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557019" y="1088740"/>
            <a:ext cx="8824474" cy="549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ctes liés à la fin d’un congé (sauf exception) ne sont plus à produire puisque les actes de demande et de prolongation/renouvellement portent déjà les dates de fin de congés. En effet, la DGAFP a préconisé de ne plus notifier la fin de certains congés aux agents, ce type d’acte étant considéré inutile. </a:t>
            </a:r>
          </a:p>
          <a:p>
            <a:pPr lvl="0" algn="just"/>
            <a:endParaRPr lang="fr-FR" sz="800" b="1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ès échange avec la communauté interministérielle, cette préconisation a été validée lors du GT BDA du 12 septembre 2019.</a:t>
            </a:r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exemple, l’acte suivant ne sera plus produit dans la BDA : 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19 - </a:t>
            </a:r>
            <a:r>
              <a:rPr lang="fr-FR" sz="1600" dirty="0">
                <a:solidFill>
                  <a:srgbClr val="004272"/>
                </a:solidFill>
              </a:rPr>
              <a:t>Congé présence parental fin (T) </a:t>
            </a:r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tefois, </a:t>
            </a:r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cas de retour anticipé </a:t>
            </a: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gestionnaires auront la possibilité d’utiliser l’acte portant reprise suite à congé avec impact rémunération _ INTABS0091 (T) 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même, pour les congés sans impact sur rémunération, ils pourront utiliser l’acte :</a:t>
            </a:r>
          </a:p>
          <a:p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93 pour reprise anticipée des fonctions suite à congé / absence sans impact rémunération - (T).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4411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166124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0914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90769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79793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024336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657735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806631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432847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531286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2285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sentation du livrab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3665190" y="2283874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ACRO-PROCESSUS</a:t>
            </a:r>
          </a:p>
        </p:txBody>
      </p:sp>
      <p:sp>
        <p:nvSpPr>
          <p:cNvPr id="7" name="Pentagon 65"/>
          <p:cNvSpPr/>
          <p:nvPr/>
        </p:nvSpPr>
        <p:spPr bwMode="auto">
          <a:xfrm>
            <a:off x="2060551" y="1272324"/>
            <a:ext cx="2088232" cy="39604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>
                <a:solidFill>
                  <a:srgbClr val="004272"/>
                </a:solidFill>
                <a:latin typeface="+mn-lt"/>
              </a:rPr>
              <a:t>Structure du livrable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687592" y="2747141"/>
            <a:ext cx="1991963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OCESSU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680897" y="4389427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S</a:t>
            </a:r>
          </a:p>
        </p:txBody>
      </p:sp>
      <p:sp>
        <p:nvSpPr>
          <p:cNvPr id="10" name="Down Arrow 71"/>
          <p:cNvSpPr/>
          <p:nvPr/>
        </p:nvSpPr>
        <p:spPr bwMode="auto">
          <a:xfrm>
            <a:off x="4574036" y="3141166"/>
            <a:ext cx="288032" cy="284257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" name="TextBox 39"/>
          <p:cNvSpPr txBox="1"/>
          <p:nvPr/>
        </p:nvSpPr>
        <p:spPr>
          <a:xfrm>
            <a:off x="5853100" y="1995119"/>
            <a:ext cx="363697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La diapositive n°7 présente l’ensemble des événements de gestion composant la carrière d’un agent  titulaire de la FPE. Les événements sont classés en macro-processus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suffit de cliquer (en mode diaporama) sur un des processus pour accéder à la diapositive de l’événement correspondant.</a:t>
            </a:r>
          </a:p>
        </p:txBody>
      </p:sp>
      <p:sp>
        <p:nvSpPr>
          <p:cNvPr id="12" name="TextBox 40"/>
          <p:cNvSpPr txBox="1"/>
          <p:nvPr/>
        </p:nvSpPr>
        <p:spPr>
          <a:xfrm>
            <a:off x="5853100" y="4303987"/>
            <a:ext cx="36369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Pour chaque événement, les principaux cas sont détaillés.</a:t>
            </a:r>
          </a:p>
        </p:txBody>
      </p:sp>
      <p:cxnSp>
        <p:nvCxnSpPr>
          <p:cNvPr id="13" name="Straight Connector 42"/>
          <p:cNvCxnSpPr/>
          <p:nvPr/>
        </p:nvCxnSpPr>
        <p:spPr bwMode="auto">
          <a:xfrm>
            <a:off x="5853100" y="2100416"/>
            <a:ext cx="0" cy="94433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43"/>
          <p:cNvCxnSpPr/>
          <p:nvPr/>
        </p:nvCxnSpPr>
        <p:spPr bwMode="auto">
          <a:xfrm>
            <a:off x="5853100" y="4323509"/>
            <a:ext cx="0" cy="324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50">
            <a:hlinkClick r:id="rId2" action="ppaction://hlinksldjump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47980" y="3502943"/>
            <a:ext cx="465833" cy="32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91"/>
          <p:cNvSpPr txBox="1"/>
          <p:nvPr/>
        </p:nvSpPr>
        <p:spPr>
          <a:xfrm>
            <a:off x="5853100" y="3360447"/>
            <a:ext cx="3636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est possible de revenir au sommaire en cliquant sur l’image en haut à droite de chaque diapositive (en mode diaporama).</a:t>
            </a:r>
          </a:p>
        </p:txBody>
      </p:sp>
      <p:cxnSp>
        <p:nvCxnSpPr>
          <p:cNvPr id="17" name="Straight Connector 92"/>
          <p:cNvCxnSpPr/>
          <p:nvPr/>
        </p:nvCxnSpPr>
        <p:spPr bwMode="auto">
          <a:xfrm>
            <a:off x="5853100" y="3360447"/>
            <a:ext cx="0" cy="48568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Arrow Connector 94"/>
          <p:cNvCxnSpPr/>
          <p:nvPr/>
        </p:nvCxnSpPr>
        <p:spPr bwMode="auto">
          <a:xfrm>
            <a:off x="4088760" y="3636821"/>
            <a:ext cx="1590795" cy="0"/>
          </a:xfrm>
          <a:prstGeom prst="straightConnector1">
            <a:avLst/>
          </a:prstGeom>
          <a:noFill/>
          <a:ln w="12700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19" name="Image 1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6" y="3914445"/>
            <a:ext cx="3060068" cy="2366899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</p:pic>
      <p:cxnSp>
        <p:nvCxnSpPr>
          <p:cNvPr id="20" name="Straight Arrow Connector 79"/>
          <p:cNvCxnSpPr>
            <a:endCxn id="9" idx="1"/>
          </p:cNvCxnSpPr>
          <p:nvPr/>
        </p:nvCxnSpPr>
        <p:spPr bwMode="auto">
          <a:xfrm>
            <a:off x="2060551" y="4488438"/>
            <a:ext cx="1620346" cy="0"/>
          </a:xfrm>
          <a:prstGeom prst="straightConnector1">
            <a:avLst/>
          </a:prstGeom>
          <a:noFill/>
          <a:ln w="12700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21" name="Image 20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27" y="1617761"/>
            <a:ext cx="2569375" cy="177879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cxnSp>
        <p:nvCxnSpPr>
          <p:cNvPr id="22" name="Connecteur en angle 21"/>
          <p:cNvCxnSpPr/>
          <p:nvPr/>
        </p:nvCxnSpPr>
        <p:spPr bwMode="auto">
          <a:xfrm rot="5400000">
            <a:off x="2127315" y="2883555"/>
            <a:ext cx="1224000" cy="792000"/>
          </a:xfrm>
          <a:prstGeom prst="bentConnector3">
            <a:avLst>
              <a:gd name="adj1" fmla="val 59595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Connecteur droit avec flèche 22"/>
          <p:cNvCxnSpPr>
            <a:endCxn id="6" idx="1"/>
          </p:cNvCxnSpPr>
          <p:nvPr/>
        </p:nvCxnSpPr>
        <p:spPr bwMode="auto">
          <a:xfrm flipV="1">
            <a:off x="3064817" y="2382885"/>
            <a:ext cx="600373" cy="290"/>
          </a:xfrm>
          <a:prstGeom prst="straightConnector1">
            <a:avLst/>
          </a:prstGeom>
          <a:noFill/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Connecteur droit avec flèche 23"/>
          <p:cNvCxnSpPr>
            <a:endCxn id="8" idx="1"/>
          </p:cNvCxnSpPr>
          <p:nvPr/>
        </p:nvCxnSpPr>
        <p:spPr bwMode="auto">
          <a:xfrm>
            <a:off x="3014657" y="2846152"/>
            <a:ext cx="672935" cy="0"/>
          </a:xfrm>
          <a:prstGeom prst="straightConnector1">
            <a:avLst/>
          </a:prstGeom>
          <a:noFill/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2432720" y="2657090"/>
            <a:ext cx="702595" cy="55172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906" y="1088740"/>
            <a:ext cx="905649" cy="1058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55"/>
          <p:cNvSpPr txBox="1"/>
          <p:nvPr/>
        </p:nvSpPr>
        <p:spPr>
          <a:xfrm>
            <a:off x="5399557" y="5089388"/>
            <a:ext cx="298776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</a:rPr>
              <a:t>Lien pour accéder aux actes :</a:t>
            </a:r>
          </a:p>
          <a:p>
            <a:pPr marL="177800" indent="-17780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7780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  <a:hlinkClick r:id="rId7"/>
              </a:rPr>
              <a:t>hOPPER</a:t>
            </a: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  <a:hlinkClick r:id="rId8"/>
              </a:rPr>
              <a:t>PISSARHHO</a:t>
            </a:r>
            <a:endParaRPr lang="fr-FR" sz="1200" b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28" name="Image 27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860" y="5624201"/>
            <a:ext cx="837870" cy="642946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618" y="5887769"/>
            <a:ext cx="384186" cy="39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0056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6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8082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59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595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A85D3FE-EDEE-4AA5-97F7-0CBDB0EF86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0210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130</TotalTime>
  <Words>872</Words>
  <Application>Microsoft Office PowerPoint</Application>
  <PresentationFormat>Format A4 (210 x 297 mm)</PresentationFormat>
  <Paragraphs>144</Paragraphs>
  <Slides>60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0</vt:i4>
      </vt:variant>
    </vt:vector>
  </HeadingPairs>
  <TitlesOfParts>
    <vt:vector size="71" baseType="lpstr">
      <vt:lpstr>Arial</vt:lpstr>
      <vt:lpstr>Arial (Body)</vt:lpstr>
      <vt:lpstr>Arial (Corps)</vt:lpstr>
      <vt:lpstr>Calibri</vt:lpstr>
      <vt:lpstr>Courier New</vt:lpstr>
      <vt:lpstr>Tw Cen MT</vt:lpstr>
      <vt:lpstr>Verdana</vt:lpstr>
      <vt:lpstr>Wingdings</vt:lpstr>
      <vt:lpstr>Wingdings 2</vt:lpstr>
      <vt:lpstr>2_Présentation Powerpoint diffusion interne</vt:lpstr>
      <vt:lpstr>think-cell Slide</vt:lpstr>
      <vt:lpstr>CISIRH Bibliothèque des actes</vt:lpstr>
      <vt:lpstr>Contexte et objectifs du document</vt:lpstr>
      <vt:lpstr>Mise à jour du document et contacts</vt:lpstr>
      <vt:lpstr>Informations utiles (1/2)</vt:lpstr>
      <vt:lpstr>Informations utiles (2/2)</vt:lpstr>
      <vt:lpstr>Présentation du livrabl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ement Mc²i, Eurogroup, Trex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ui CISRH - Livret d'accueil des nouveaux arrivants</dc:title>
  <dc:subject>Livret d'accueil à l'attention des nouveaux arrivants</dc:subject>
  <dc:creator>Bastien Turpault (Trexia)</dc:creator>
  <cp:lastModifiedBy>LENTIGNAC Virginie</cp:lastModifiedBy>
  <cp:revision>7738</cp:revision>
  <cp:lastPrinted>2022-02-21T09:16:25Z</cp:lastPrinted>
  <dcterms:created xsi:type="dcterms:W3CDTF">2009-07-09T13:00:12Z</dcterms:created>
  <dcterms:modified xsi:type="dcterms:W3CDTF">2024-06-19T12:35:22Z</dcterms:modified>
</cp:coreProperties>
</file>